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2" r:id="rId2"/>
  </p:sldMasterIdLst>
  <p:notesMasterIdLst>
    <p:notesMasterId r:id="rId54"/>
  </p:notesMasterIdLst>
  <p:handoutMasterIdLst>
    <p:handoutMasterId r:id="rId55"/>
  </p:handoutMasterIdLst>
  <p:sldIdLst>
    <p:sldId id="351" r:id="rId3"/>
    <p:sldId id="372" r:id="rId4"/>
    <p:sldId id="373" r:id="rId5"/>
    <p:sldId id="375" r:id="rId6"/>
    <p:sldId id="398" r:id="rId7"/>
    <p:sldId id="399" r:id="rId8"/>
    <p:sldId id="400" r:id="rId9"/>
    <p:sldId id="401" r:id="rId10"/>
    <p:sldId id="403" r:id="rId11"/>
    <p:sldId id="405" r:id="rId12"/>
    <p:sldId id="406" r:id="rId13"/>
    <p:sldId id="407" r:id="rId14"/>
    <p:sldId id="408" r:id="rId15"/>
    <p:sldId id="409" r:id="rId16"/>
    <p:sldId id="410" r:id="rId17"/>
    <p:sldId id="411" r:id="rId18"/>
    <p:sldId id="412" r:id="rId19"/>
    <p:sldId id="413" r:id="rId20"/>
    <p:sldId id="414" r:id="rId21"/>
    <p:sldId id="415" r:id="rId22"/>
    <p:sldId id="416" r:id="rId23"/>
    <p:sldId id="417" r:id="rId24"/>
    <p:sldId id="420" r:id="rId25"/>
    <p:sldId id="445" r:id="rId26"/>
    <p:sldId id="446" r:id="rId27"/>
    <p:sldId id="447" r:id="rId28"/>
    <p:sldId id="418" r:id="rId29"/>
    <p:sldId id="419" r:id="rId30"/>
    <p:sldId id="421" r:id="rId31"/>
    <p:sldId id="422" r:id="rId32"/>
    <p:sldId id="423" r:id="rId33"/>
    <p:sldId id="424" r:id="rId34"/>
    <p:sldId id="425" r:id="rId35"/>
    <p:sldId id="426" r:id="rId36"/>
    <p:sldId id="427" r:id="rId37"/>
    <p:sldId id="428" r:id="rId38"/>
    <p:sldId id="429" r:id="rId39"/>
    <p:sldId id="430" r:id="rId40"/>
    <p:sldId id="431" r:id="rId41"/>
    <p:sldId id="432" r:id="rId42"/>
    <p:sldId id="433" r:id="rId43"/>
    <p:sldId id="434" r:id="rId44"/>
    <p:sldId id="435" r:id="rId45"/>
    <p:sldId id="436" r:id="rId46"/>
    <p:sldId id="438" r:id="rId47"/>
    <p:sldId id="439" r:id="rId48"/>
    <p:sldId id="440" r:id="rId49"/>
    <p:sldId id="441" r:id="rId50"/>
    <p:sldId id="443" r:id="rId51"/>
    <p:sldId id="444" r:id="rId52"/>
    <p:sldId id="397" r:id="rId53"/>
  </p:sldIdLst>
  <p:sldSz cx="9144000" cy="5143500" type="screen16x9"/>
  <p:notesSz cx="7010400" cy="9236075"/>
  <p:custDataLst>
    <p:tags r:id="rId5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925700"/>
    <a:srgbClr val="CC7A00"/>
    <a:srgbClr val="14385C"/>
    <a:srgbClr val="899BAD"/>
    <a:srgbClr val="042A45"/>
    <a:srgbClr val="042A43"/>
    <a:srgbClr val="D27D00"/>
    <a:srgbClr val="25629F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621" autoAdjust="0"/>
    <p:restoredTop sz="99657" autoAdjust="0"/>
  </p:normalViewPr>
  <p:slideViewPr>
    <p:cSldViewPr snapToGrid="0" showGuides="1">
      <p:cViewPr>
        <p:scale>
          <a:sx n="154" d="100"/>
          <a:sy n="154" d="100"/>
        </p:scale>
        <p:origin x="1422" y="1440"/>
      </p:cViewPr>
      <p:guideLst>
        <p:guide orient="horz" pos="1077"/>
        <p:guide orient="horz" pos="2176"/>
        <p:guide pos="1901"/>
        <p:guide pos="3876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-3162" y="-102"/>
      </p:cViewPr>
      <p:guideLst>
        <p:guide orient="horz" pos="2909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tags" Target="tags/tag1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 sz="1400"/>
              <a:t>% Lane Miles Good or Better-Statewide</a:t>
            </a:r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cat>
            <c:numRef>
              <c:f>'4_Y Plan'!$D$9:$D$12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'4_Y Plan'!$E$9:$E$12</c:f>
              <c:numCache>
                <c:formatCode>0.00%</c:formatCode>
                <c:ptCount val="4"/>
                <c:pt idx="0">
                  <c:v>0.879</c:v>
                </c:pt>
                <c:pt idx="1">
                  <c:v>0.87119999999999997</c:v>
                </c:pt>
                <c:pt idx="2">
                  <c:v>0.86780000000000002</c:v>
                </c:pt>
                <c:pt idx="3">
                  <c:v>0.8598000000000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3083904"/>
        <c:axId val="113085824"/>
      </c:barChart>
      <c:catAx>
        <c:axId val="113083904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Year</a:t>
                </a:r>
              </a:p>
            </c:rich>
          </c:tx>
          <c:layout/>
          <c:overlay val="0"/>
        </c:title>
        <c:numFmt formatCode="General" sourceLinked="1"/>
        <c:majorTickMark val="out"/>
        <c:minorTickMark val="none"/>
        <c:tickLblPos val="nextTo"/>
        <c:crossAx val="113085824"/>
        <c:crosses val="autoZero"/>
        <c:auto val="1"/>
        <c:lblAlgn val="ctr"/>
        <c:lblOffset val="100"/>
        <c:noMultiLvlLbl val="0"/>
      </c:catAx>
      <c:valAx>
        <c:axId val="113085824"/>
        <c:scaling>
          <c:orientation val="minMax"/>
          <c:max val="1"/>
          <c:min val="0.60000000000000009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% Lane Miles</a:t>
                </a:r>
              </a:p>
            </c:rich>
          </c:tx>
          <c:layout/>
          <c:overlay val="0"/>
        </c:title>
        <c:numFmt formatCode="0%" sourceLinked="0"/>
        <c:majorTickMark val="out"/>
        <c:minorTickMark val="none"/>
        <c:tickLblPos val="nextTo"/>
        <c:crossAx val="113083904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19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196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8E6447-1AF7-45FC-B6F3-B45DEEC38ECA}" type="datetimeFigureOut">
              <a:rPr lang="en-US" smtClean="0"/>
              <a:t>10/25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525"/>
            <a:ext cx="3038475" cy="4619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772525"/>
            <a:ext cx="3038475" cy="4619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B2EB33-711F-41CA-8F73-C56B715F8B9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5566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10/25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7038" y="692150"/>
            <a:ext cx="6156325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7136"/>
            <a:ext cx="5608320" cy="4156234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69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72669"/>
            <a:ext cx="3037840" cy="46180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692150"/>
            <a:ext cx="6156325" cy="34639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6631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A6BBB-1352-4ADB-A7DE-12BB190FCB15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74259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A6BBB-1352-4ADB-A7DE-12BB190FCB15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92172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A6BBB-1352-4ADB-A7DE-12BB190FCB15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6838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A6BBB-1352-4ADB-A7DE-12BB190FCB15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8913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A6BBB-1352-4ADB-A7DE-12BB190FCB15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6618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A6BBB-1352-4ADB-A7DE-12BB190FCB15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999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A6BBB-1352-4ADB-A7DE-12BB190FCB15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999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3BA6BBB-1352-4ADB-A7DE-12BB190FCB15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999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6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14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5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252410" y="2847954"/>
            <a:ext cx="4114800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252410" y="3955235"/>
            <a:ext cx="4114800" cy="433125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95303"/>
            <a:ext cx="9144000" cy="6481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8988" cy="699817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228600" y="3933804"/>
            <a:ext cx="4191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DC6E-6441-4FFD-9BE7-76F1185183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5E33EF-9725-4AFA-82CC-14E0334E70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4858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DC6E-6441-4FFD-9BE7-76F1185183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5E33EF-9725-4AFA-82CC-14E0334E70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87700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DC6E-6441-4FFD-9BE7-76F1185183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5E33EF-9725-4AFA-82CC-14E0334E70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5728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DC6E-6441-4FFD-9BE7-76F1185183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5E33EF-9725-4AFA-82CC-14E0334E70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9368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DC6E-6441-4FFD-9BE7-76F1185183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5E33EF-9725-4AFA-82CC-14E0334E70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858470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DC6E-6441-4FFD-9BE7-76F1185183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5E33EF-9725-4AFA-82CC-14E0334E70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4252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DC6E-6441-4FFD-9BE7-76F1185183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5E33EF-9725-4AFA-82CC-14E0334E70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55927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DC6E-6441-4FFD-9BE7-76F1185183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5E33EF-9725-4AFA-82CC-14E0334E70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9392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5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95303"/>
            <a:ext cx="9144000" cy="6481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2578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2896792"/>
            <a:ext cx="5100433" cy="792956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3784402"/>
            <a:ext cx="5133855" cy="444698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3711179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0501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08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509590" y="2795091"/>
            <a:ext cx="4114800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36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509590" y="3902372"/>
            <a:ext cx="4114800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95303"/>
            <a:ext cx="9144000" cy="64819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8988" cy="699817"/>
          </a:xfrm>
          <a:prstGeom prst="rect">
            <a:avLst/>
          </a:prstGeom>
        </p:spPr>
      </p:pic>
      <p:cxnSp>
        <p:nvCxnSpPr>
          <p:cNvPr id="8" name="Straight Connector 7"/>
          <p:cNvCxnSpPr/>
          <p:nvPr userDrawn="1"/>
        </p:nvCxnSpPr>
        <p:spPr>
          <a:xfrm>
            <a:off x="485780" y="3880941"/>
            <a:ext cx="4191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1" y="4933950"/>
            <a:ext cx="211057" cy="1406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1" y="4933950"/>
            <a:ext cx="211057" cy="1406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1" y="4933950"/>
            <a:ext cx="211057" cy="140631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Z_title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4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/>
          <p:cNvCxnSpPr/>
          <p:nvPr userDrawn="1"/>
        </p:nvCxnSpPr>
        <p:spPr>
          <a:xfrm>
            <a:off x="276483" y="3478333"/>
            <a:ext cx="4133987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099"/>
          <a:stretch/>
        </p:blipFill>
        <p:spPr>
          <a:xfrm>
            <a:off x="4981415" y="531805"/>
            <a:ext cx="4087522" cy="3855951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57" y="2568144"/>
            <a:ext cx="2314257" cy="781382"/>
          </a:xfrm>
          <a:prstGeom prst="rect">
            <a:avLst/>
          </a:prstGeom>
        </p:spPr>
      </p:pic>
      <p:pic>
        <p:nvPicPr>
          <p:cNvPr id="14" name="Picture 13" descr="TitleFooterBlueandWhite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495303"/>
            <a:ext cx="9144000" cy="64819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8988" cy="6998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337896" y="3618648"/>
            <a:ext cx="4114800" cy="434738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Book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584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000"/>
    </mc:Choice>
    <mc:Fallback xmlns="">
      <p:transition spd="slow" advClick="0" advTm="5000"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DC6E-6441-4FFD-9BE7-76F1185183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5E33EF-9725-4AFA-82CC-14E0334E70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66865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DC6E-6441-4FFD-9BE7-76F1185183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5E33EF-9725-4AFA-82CC-14E0334E70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3656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F3DC6E-6441-4FFD-9BE7-76F1185183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5E33EF-9725-4AFA-82CC-14E0334E70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7393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19679"/>
            <a:ext cx="9144000" cy="423821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73682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9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0" name="think-cell Slide" r:id="rId16" imgW="0" imgH="0" progId="">
                  <p:embed/>
                </p:oleObj>
              </mc:Choice>
              <mc:Fallback>
                <p:oleObj name="think-cell Slide" r:id="rId16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10"/>
            </p:custDataLst>
          </p:nvPr>
        </p:nvSpPr>
        <p:spPr>
          <a:xfrm>
            <a:off x="8886826" y="4934549"/>
            <a:ext cx="257175" cy="1428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gray">
          <a:xfrm>
            <a:off x="247816" y="32720"/>
            <a:ext cx="8353425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2"/>
            </p:custDataLst>
          </p:nvPr>
        </p:nvSpPr>
        <p:spPr>
          <a:xfrm>
            <a:off x="333375" y="800100"/>
            <a:ext cx="8477250" cy="3886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3"/>
            </p:custDataLst>
          </p:nvPr>
        </p:nvSpPr>
        <p:spPr>
          <a:xfrm>
            <a:off x="8870950" y="4936797"/>
            <a:ext cx="211057" cy="14063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304800" y="4835595"/>
            <a:ext cx="426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Franklin Gothic Book" pitchFamily="34" charset="0"/>
              </a:rPr>
              <a:t>2017</a:t>
            </a:r>
            <a:r>
              <a:rPr lang="en-US" sz="1200" baseline="0" dirty="0" smtClean="0">
                <a:solidFill>
                  <a:schemeClr val="bg1"/>
                </a:solidFill>
                <a:latin typeface="Franklin Gothic Book" pitchFamily="34" charset="0"/>
              </a:rPr>
              <a:t> SASHTO Southeast Maintenance Conference</a:t>
            </a:r>
            <a:endParaRPr lang="en-US" sz="1200" dirty="0" smtClean="0">
              <a:solidFill>
                <a:schemeClr val="bg1"/>
              </a:solidFill>
              <a:latin typeface="Franklin Gothic Book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619626" y="4835594"/>
            <a:ext cx="40944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schemeClr val="bg1"/>
                </a:solidFill>
                <a:latin typeface="Franklin Gothic Book" pitchFamily="34" charset="0"/>
              </a:rPr>
              <a:t>10/25/2017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  <p:sldLayoutId id="2147483661" r:id="rId6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0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Wingdings" pitchFamily="2" charset="2"/>
        <a:buChar char="§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•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ts val="0"/>
        </a:spcBef>
        <a:spcAft>
          <a:spcPts val="600"/>
        </a:spcAft>
        <a:buClr>
          <a:schemeClr val="accent1"/>
        </a:buClr>
        <a:buFont typeface="Arial" pitchFamily="34" charset="0"/>
        <a:buChar char="»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F3DC6E-6441-4FFD-9BE7-76F11851838D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25/20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65E33EF-9725-4AFA-82CC-14E0334E70F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6448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tiff"/><Relationship Id="rId9" Type="http://schemas.openxmlformats.org/officeDocument/2006/relationships/image" Target="../media/image16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hyperlink" Target="mailto:Magdy.Mikhail@txdot.gov" TargetMode="Externa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9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hyperlink" Target="mailto:Magdy.Mikhail@txdot.gov" TargetMode="Externa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7.jpeg"/><Relationship Id="rId4" Type="http://schemas.openxmlformats.org/officeDocument/2006/relationships/image" Target="../media/image46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2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8.jpeg"/><Relationship Id="rId4" Type="http://schemas.openxmlformats.org/officeDocument/2006/relationships/image" Target="../media/image67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1.jpeg"/><Relationship Id="rId5" Type="http://schemas.openxmlformats.org/officeDocument/2006/relationships/image" Target="../media/image70.jpeg"/><Relationship Id="rId4" Type="http://schemas.openxmlformats.org/officeDocument/2006/relationships/image" Target="../media/image69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3.jpeg"/><Relationship Id="rId4" Type="http://schemas.openxmlformats.org/officeDocument/2006/relationships/image" Target="../media/image72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77.jpeg"/><Relationship Id="rId4" Type="http://schemas.openxmlformats.org/officeDocument/2006/relationships/image" Target="../media/image76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0.jpeg"/><Relationship Id="rId4" Type="http://schemas.openxmlformats.org/officeDocument/2006/relationships/image" Target="../media/image79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2.jpeg"/><Relationship Id="rId4" Type="http://schemas.openxmlformats.org/officeDocument/2006/relationships/image" Target="../media/image81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85.jp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8.jpeg"/><Relationship Id="rId4" Type="http://schemas.openxmlformats.org/officeDocument/2006/relationships/image" Target="../media/image87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jpeg"/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2.jpeg"/><Relationship Id="rId4" Type="http://schemas.openxmlformats.org/officeDocument/2006/relationships/image" Target="../media/image91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5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7" Type="http://schemas.openxmlformats.org/officeDocument/2006/relationships/image" Target="../media/image9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4.png"/><Relationship Id="rId5" Type="http://schemas.openxmlformats.org/officeDocument/2006/relationships/image" Target="../media/image93.jpeg"/><Relationship Id="rId4" Type="http://schemas.openxmlformats.org/officeDocument/2006/relationships/image" Target="../media/image66.jpe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5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1.jpeg"/><Relationship Id="rId5" Type="http://schemas.openxmlformats.org/officeDocument/2006/relationships/image" Target="../media/image100.jpeg"/><Relationship Id="rId4" Type="http://schemas.openxmlformats.org/officeDocument/2006/relationships/image" Target="../media/image99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3.jpeg"/><Relationship Id="rId5" Type="http://schemas.openxmlformats.org/officeDocument/2006/relationships/image" Target="../media/image102.jpeg"/><Relationship Id="rId4" Type="http://schemas.openxmlformats.org/officeDocument/2006/relationships/image" Target="../media/image66.jpeg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jpeg"/><Relationship Id="rId2" Type="http://schemas.openxmlformats.org/officeDocument/2006/relationships/image" Target="../media/image105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7.jpe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3.jpeg"/><Relationship Id="rId3" Type="http://schemas.openxmlformats.org/officeDocument/2006/relationships/image" Target="../media/image108.jpeg"/><Relationship Id="rId7" Type="http://schemas.openxmlformats.org/officeDocument/2006/relationships/image" Target="../media/image1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1.jpeg"/><Relationship Id="rId5" Type="http://schemas.openxmlformats.org/officeDocument/2006/relationships/image" Target="../media/image110.jpeg"/><Relationship Id="rId4" Type="http://schemas.openxmlformats.org/officeDocument/2006/relationships/image" Target="../media/image109.jpe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7" Type="http://schemas.openxmlformats.org/officeDocument/2006/relationships/image" Target="../media/image1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7.jpeg"/><Relationship Id="rId5" Type="http://schemas.openxmlformats.org/officeDocument/2006/relationships/image" Target="../media/image116.jpeg"/><Relationship Id="rId4" Type="http://schemas.openxmlformats.org/officeDocument/2006/relationships/image" Target="../media/image115.jpe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20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2.jpeg"/><Relationship Id="rId4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3" Type="http://schemas.openxmlformats.org/officeDocument/2006/relationships/image" Target="../media/image34.jpeg"/><Relationship Id="rId7" Type="http://schemas.openxmlformats.org/officeDocument/2006/relationships/image" Target="../media/image38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7.jpeg"/><Relationship Id="rId5" Type="http://schemas.openxmlformats.org/officeDocument/2006/relationships/image" Target="../media/image36.jpeg"/><Relationship Id="rId10" Type="http://schemas.openxmlformats.org/officeDocument/2006/relationships/image" Target="../media/image41.tiff"/><Relationship Id="rId4" Type="http://schemas.openxmlformats.org/officeDocument/2006/relationships/image" Target="../media/image35.jpeg"/><Relationship Id="rId9" Type="http://schemas.openxmlformats.org/officeDocument/2006/relationships/image" Target="../media/image4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>
          <a:xfrm>
            <a:off x="452345" y="2965858"/>
            <a:ext cx="4929191" cy="792956"/>
          </a:xfrm>
        </p:spPr>
        <p:txBody>
          <a:bodyPr/>
          <a:lstStyle/>
          <a:p>
            <a:r>
              <a:rPr lang="en-US" dirty="0" smtClean="0"/>
              <a:t>2017 SASHTO</a:t>
            </a:r>
            <a:br>
              <a:rPr lang="en-US" dirty="0" smtClean="0"/>
            </a:br>
            <a:r>
              <a:rPr lang="en-US" sz="2400" dirty="0" smtClean="0"/>
              <a:t>Southeast Regional </a:t>
            </a:r>
            <a:br>
              <a:rPr lang="en-US" sz="2400" dirty="0" smtClean="0"/>
            </a:br>
            <a:r>
              <a:rPr lang="en-US" sz="2400" dirty="0" smtClean="0"/>
              <a:t>Maintenance Conference</a:t>
            </a:r>
            <a:endParaRPr lang="en-US" dirty="0"/>
          </a:p>
        </p:txBody>
      </p:sp>
      <p:sp>
        <p:nvSpPr>
          <p:cNvPr id="27" name="Subtitle 26"/>
          <p:cNvSpPr>
            <a:spLocks noGrp="1"/>
          </p:cNvSpPr>
          <p:nvPr>
            <p:ph type="subTitle" idx="1"/>
          </p:nvPr>
        </p:nvSpPr>
        <p:spPr>
          <a:xfrm>
            <a:off x="452345" y="3889435"/>
            <a:ext cx="4929191" cy="444698"/>
          </a:xfrm>
        </p:spPr>
        <p:txBody>
          <a:bodyPr/>
          <a:lstStyle/>
          <a:p>
            <a:r>
              <a:rPr lang="en-US" dirty="0" smtClean="0"/>
              <a:t>Orlando, Florida</a:t>
            </a:r>
            <a:endParaRPr lang="en-US" dirty="0"/>
          </a:p>
        </p:txBody>
      </p:sp>
      <p:sp>
        <p:nvSpPr>
          <p:cNvPr id="16" name="TextBox 15"/>
          <p:cNvSpPr txBox="1"/>
          <p:nvPr/>
        </p:nvSpPr>
        <p:spPr>
          <a:xfrm>
            <a:off x="4724400" y="4697512"/>
            <a:ext cx="4114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600" dirty="0" smtClean="0">
                <a:solidFill>
                  <a:schemeClr val="bg1"/>
                </a:solidFill>
              </a:rPr>
              <a:t>10/25/2017</a:t>
            </a: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18" t="339" r="392" b="-339"/>
          <a:stretch/>
        </p:blipFill>
        <p:spPr>
          <a:xfrm>
            <a:off x="6137911" y="1525678"/>
            <a:ext cx="2834640" cy="288036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18" t="15233" r="37950" b="5087"/>
          <a:stretch/>
        </p:blipFill>
        <p:spPr>
          <a:xfrm>
            <a:off x="1186972" y="744204"/>
            <a:ext cx="1142026" cy="745015"/>
          </a:xfrm>
          <a:prstGeom prst="rect">
            <a:avLst/>
          </a:prstGeom>
          <a:ln w="19050">
            <a:noFill/>
          </a:ln>
        </p:spPr>
      </p:pic>
      <p:pic>
        <p:nvPicPr>
          <p:cNvPr id="18" name="Picture 17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102" t="21297" r="34137"/>
          <a:stretch/>
        </p:blipFill>
        <p:spPr>
          <a:xfrm>
            <a:off x="3504884" y="742950"/>
            <a:ext cx="746747" cy="747522"/>
          </a:xfrm>
          <a:prstGeom prst="rect">
            <a:avLst/>
          </a:prstGeom>
          <a:ln w="19050">
            <a:noFill/>
          </a:ln>
        </p:spPr>
      </p:pic>
      <p:pic>
        <p:nvPicPr>
          <p:cNvPr id="26" name="Picture 25"/>
          <p:cNvPicPr>
            <a:picLocks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875" t="18025" r="24116" b="33603"/>
          <a:stretch/>
        </p:blipFill>
        <p:spPr>
          <a:xfrm>
            <a:off x="2365714" y="742950"/>
            <a:ext cx="1102455" cy="747522"/>
          </a:xfrm>
          <a:prstGeom prst="rect">
            <a:avLst/>
          </a:prstGeom>
          <a:ln w="19050">
            <a:noFill/>
          </a:ln>
        </p:spPr>
      </p:pic>
      <p:pic>
        <p:nvPicPr>
          <p:cNvPr id="28" name="Picture 27"/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85" t="15291" r="5253" b="12187"/>
          <a:stretch/>
        </p:blipFill>
        <p:spPr>
          <a:xfrm>
            <a:off x="4285805" y="742950"/>
            <a:ext cx="1179286" cy="747522"/>
          </a:xfrm>
          <a:prstGeom prst="rect">
            <a:avLst/>
          </a:prstGeom>
          <a:ln w="19050">
            <a:noFill/>
          </a:ln>
        </p:spPr>
      </p:pic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18" t="34544" r="14209" b="14422"/>
          <a:stretch/>
        </p:blipFill>
        <p:spPr>
          <a:xfrm>
            <a:off x="152401" y="744204"/>
            <a:ext cx="997857" cy="745015"/>
          </a:xfrm>
          <a:prstGeom prst="rect">
            <a:avLst/>
          </a:prstGeom>
          <a:ln w="19050">
            <a:noFill/>
          </a:ln>
        </p:spPr>
      </p:pic>
      <p:pic>
        <p:nvPicPr>
          <p:cNvPr id="31" name="Picture 30"/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410" r="17032"/>
          <a:stretch/>
        </p:blipFill>
        <p:spPr>
          <a:xfrm>
            <a:off x="5501958" y="742950"/>
            <a:ext cx="1539187" cy="747522"/>
          </a:xfrm>
          <a:prstGeom prst="rect">
            <a:avLst/>
          </a:prstGeom>
          <a:solidFill>
            <a:srgbClr val="FFCC00"/>
          </a:solidFill>
          <a:ln w="19050">
            <a:noFill/>
          </a:ln>
        </p:spPr>
      </p:pic>
      <p:pic>
        <p:nvPicPr>
          <p:cNvPr id="14" name="Picture 13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6601" y="733806"/>
            <a:ext cx="1874837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85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 idx="4294967295"/>
          </p:nvPr>
        </p:nvSpPr>
        <p:spPr>
          <a:xfrm>
            <a:off x="333140" y="1455008"/>
            <a:ext cx="8353425" cy="2308324"/>
          </a:xfrm>
        </p:spPr>
        <p:txBody>
          <a:bodyPr/>
          <a:lstStyle/>
          <a:p>
            <a:pPr algn="ctr"/>
            <a:r>
              <a:rPr lang="en-US" sz="3600" b="1" dirty="0" err="1" smtClean="0">
                <a:solidFill>
                  <a:schemeClr val="tx1"/>
                </a:solidFill>
              </a:rPr>
              <a:t>TxDOT</a:t>
            </a:r>
            <a:r>
              <a:rPr lang="en-US" sz="3600" b="1" dirty="0" smtClean="0">
                <a:solidFill>
                  <a:schemeClr val="tx1"/>
                </a:solidFill>
              </a:rPr>
              <a:t> </a:t>
            </a:r>
            <a:br>
              <a:rPr lang="en-US" sz="3600" b="1" dirty="0" smtClean="0">
                <a:solidFill>
                  <a:schemeClr val="tx1"/>
                </a:solidFill>
              </a:rPr>
            </a:br>
            <a:r>
              <a:rPr lang="en-US" sz="3600" b="1" dirty="0" smtClean="0">
                <a:solidFill>
                  <a:schemeClr val="tx1"/>
                </a:solidFill>
              </a:rPr>
              <a:t>Automated </a:t>
            </a:r>
            <a:br>
              <a:rPr lang="en-US" sz="3600" b="1" dirty="0" smtClean="0">
                <a:solidFill>
                  <a:schemeClr val="tx1"/>
                </a:solidFill>
              </a:rPr>
            </a:br>
            <a:r>
              <a:rPr lang="en-US" sz="3600" b="1" dirty="0" smtClean="0">
                <a:solidFill>
                  <a:schemeClr val="tx1"/>
                </a:solidFill>
              </a:rPr>
              <a:t>Data Collection </a:t>
            </a:r>
            <a:br>
              <a:rPr lang="en-US" sz="3600" b="1" dirty="0" smtClean="0">
                <a:solidFill>
                  <a:schemeClr val="tx1"/>
                </a:solidFill>
              </a:rPr>
            </a:br>
            <a:r>
              <a:rPr lang="en-US" sz="3600" b="1" dirty="0" smtClean="0">
                <a:solidFill>
                  <a:schemeClr val="tx1"/>
                </a:solidFill>
              </a:rPr>
              <a:t>TxDOT  Experience</a:t>
            </a:r>
            <a:endParaRPr lang="en-US" sz="3600" b="1" dirty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724400" y="4697512"/>
            <a:ext cx="4114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n-US" sz="16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6559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1830" name="Picture 6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336" y="580767"/>
            <a:ext cx="8830491" cy="40460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61831" name="Text Box 7"/>
          <p:cNvSpPr txBox="1">
            <a:spLocks noChangeArrowheads="1"/>
          </p:cNvSpPr>
          <p:nvPr/>
        </p:nvSpPr>
        <p:spPr bwMode="auto">
          <a:xfrm>
            <a:off x="304800" y="3549559"/>
            <a:ext cx="3890809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/>
          <a:p>
            <a:r>
              <a:rPr lang="en-US" altLang="en-US" sz="1600" b="1" dirty="0">
                <a:solidFill>
                  <a:srgbClr val="0000DC"/>
                </a:solidFill>
              </a:rPr>
              <a:t>25 Districts</a:t>
            </a:r>
          </a:p>
          <a:p>
            <a:r>
              <a:rPr lang="en-US" altLang="en-US" sz="1600" b="1" dirty="0">
                <a:solidFill>
                  <a:srgbClr val="0000DC"/>
                </a:solidFill>
              </a:rPr>
              <a:t>254 Counties</a:t>
            </a:r>
          </a:p>
          <a:p>
            <a:r>
              <a:rPr lang="en-US" altLang="en-US" sz="1600" b="1" dirty="0">
                <a:solidFill>
                  <a:srgbClr val="0000DC"/>
                </a:solidFill>
              </a:rPr>
              <a:t>Approximately </a:t>
            </a:r>
            <a:r>
              <a:rPr lang="en-US" altLang="en-US" sz="1600" b="1" dirty="0" smtClean="0">
                <a:solidFill>
                  <a:srgbClr val="0000DC"/>
                </a:solidFill>
              </a:rPr>
              <a:t>195,700 </a:t>
            </a:r>
            <a:r>
              <a:rPr lang="en-US" altLang="en-US" sz="1600" b="1" dirty="0">
                <a:solidFill>
                  <a:srgbClr val="0000DC"/>
                </a:solidFill>
              </a:rPr>
              <a:t>lane miles</a:t>
            </a:r>
          </a:p>
          <a:p>
            <a:r>
              <a:rPr lang="en-US" altLang="en-US" sz="1600" b="1" dirty="0">
                <a:solidFill>
                  <a:srgbClr val="0000DC"/>
                </a:solidFill>
              </a:rPr>
              <a:t>Approximately 63,000 NHS Lane Mi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xas Department of Transportation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6934200" y="3685212"/>
            <a:ext cx="1828800" cy="5143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07063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xDOT Pavement Data Collec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FY 17 </a:t>
            </a:r>
          </a:p>
          <a:p>
            <a:pPr lvl="1"/>
            <a:r>
              <a:rPr lang="en-US" dirty="0" smtClean="0"/>
              <a:t>Multiple Award</a:t>
            </a:r>
          </a:p>
          <a:p>
            <a:pPr lvl="2"/>
            <a:r>
              <a:rPr lang="en-US" sz="2000" dirty="0" err="1" smtClean="0"/>
              <a:t>Fugro</a:t>
            </a:r>
            <a:r>
              <a:rPr lang="en-US" sz="2000" dirty="0" smtClean="0"/>
              <a:t> </a:t>
            </a:r>
            <a:r>
              <a:rPr lang="en-US" sz="2000" dirty="0" err="1" smtClean="0"/>
              <a:t>Roadware</a:t>
            </a:r>
            <a:r>
              <a:rPr lang="en-US" sz="2000" dirty="0" smtClean="0"/>
              <a:t>	$3.2M Contract ($70 Per lane mile)</a:t>
            </a:r>
          </a:p>
          <a:p>
            <a:pPr lvl="2"/>
            <a:r>
              <a:rPr lang="en-US" sz="2000" dirty="0" smtClean="0"/>
              <a:t>Pathway Services	$3.0M Contract ($65 Per lane mile)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FY 18 </a:t>
            </a:r>
          </a:p>
          <a:p>
            <a:pPr lvl="1"/>
            <a:r>
              <a:rPr lang="en-US" dirty="0" smtClean="0"/>
              <a:t>Single Award</a:t>
            </a:r>
          </a:p>
          <a:p>
            <a:pPr lvl="2"/>
            <a:r>
              <a:rPr lang="en-US" sz="2000" dirty="0" smtClean="0"/>
              <a:t>Pathway Services	$5.7M Contract ($59 Per lane mile)</a:t>
            </a: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2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1152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Pavement Condition Data is Collected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ide (IRI)</a:t>
            </a:r>
          </a:p>
          <a:p>
            <a:endParaRPr lang="en-US" dirty="0" smtClean="0"/>
          </a:p>
          <a:p>
            <a:r>
              <a:rPr lang="en-US" dirty="0" smtClean="0"/>
              <a:t>Surface Distress</a:t>
            </a:r>
          </a:p>
          <a:p>
            <a:endParaRPr lang="en-US" dirty="0" smtClean="0"/>
          </a:p>
          <a:p>
            <a:pPr lvl="1"/>
            <a:r>
              <a:rPr lang="en-US" dirty="0" smtClean="0"/>
              <a:t>ACP (Cracking</a:t>
            </a:r>
            <a:r>
              <a:rPr lang="en-US" dirty="0"/>
              <a:t>, rutting, </a:t>
            </a:r>
            <a:r>
              <a:rPr lang="en-US" dirty="0" smtClean="0"/>
              <a:t>patches, failures, raveling, flushing)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CRCP (</a:t>
            </a:r>
            <a:r>
              <a:rPr lang="en-US" dirty="0" err="1"/>
              <a:t>P</a:t>
            </a:r>
            <a:r>
              <a:rPr lang="en-US" dirty="0" err="1" smtClean="0"/>
              <a:t>unchouts</a:t>
            </a:r>
            <a:r>
              <a:rPr lang="en-US" dirty="0" smtClean="0"/>
              <a:t>, spalls, patches)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JCP (Cracking, failed joints &amp; cracks, faulting, patching, shattered slabs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>
                <a:spcBef>
                  <a:spcPts val="900"/>
                </a:spcBef>
              </a:pPr>
              <a:t>13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142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Pavement Data is Collected  &amp; Processed?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100% </a:t>
            </a:r>
            <a:r>
              <a:rPr lang="en-US" dirty="0" smtClean="0"/>
              <a:t> </a:t>
            </a:r>
            <a:r>
              <a:rPr lang="en-US" dirty="0"/>
              <a:t>of Every </a:t>
            </a:r>
            <a:r>
              <a:rPr lang="en-US" dirty="0" smtClean="0"/>
              <a:t>Roadbed Annually </a:t>
            </a:r>
          </a:p>
          <a:p>
            <a:pPr marL="284162" lvl="1" indent="0">
              <a:buNone/>
            </a:pPr>
            <a:r>
              <a:rPr lang="en-US" dirty="0"/>
              <a:t>~</a:t>
            </a:r>
            <a:r>
              <a:rPr lang="en-US" dirty="0" smtClean="0"/>
              <a:t>90,000 lane miles</a:t>
            </a:r>
          </a:p>
          <a:p>
            <a:endParaRPr lang="en-US" dirty="0"/>
          </a:p>
          <a:p>
            <a:r>
              <a:rPr lang="en-US" dirty="0" smtClean="0"/>
              <a:t>Automated Data Collection </a:t>
            </a:r>
          </a:p>
          <a:p>
            <a:endParaRPr lang="en-US" sz="2000" dirty="0" smtClean="0"/>
          </a:p>
          <a:p>
            <a:pPr marL="287338" indent="0">
              <a:buNone/>
            </a:pPr>
            <a:r>
              <a:rPr lang="en-US" sz="2000" dirty="0" smtClean="0"/>
              <a:t>Automated Post Processing of images for distresses like rutting, cracking, raveling, flushing, spalls, faulting, etc. </a:t>
            </a:r>
          </a:p>
          <a:p>
            <a:pPr marL="0" indent="0">
              <a:buNone/>
            </a:pPr>
            <a:endParaRPr lang="en-US" sz="2000" dirty="0" smtClean="0"/>
          </a:p>
          <a:p>
            <a:r>
              <a:rPr lang="en-US" dirty="0" smtClean="0"/>
              <a:t>Semi-Automated Data Collection</a:t>
            </a:r>
          </a:p>
          <a:p>
            <a:endParaRPr lang="en-US" dirty="0" smtClean="0"/>
          </a:p>
          <a:p>
            <a:pPr marL="284162" lvl="1" indent="0">
              <a:buNone/>
            </a:pPr>
            <a:r>
              <a:rPr lang="en-US" i="1" dirty="0" smtClean="0"/>
              <a:t>Manual Post processing of images for distresses like Patches &amp; failures, etc.</a:t>
            </a:r>
            <a:endParaRPr lang="en-US" i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14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632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Impact of Automated Data Collection</a:t>
            </a:r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3658577"/>
              </p:ext>
            </p:extLst>
          </p:nvPr>
        </p:nvGraphicFramePr>
        <p:xfrm>
          <a:off x="152400" y="685800"/>
          <a:ext cx="8534400" cy="13155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36397"/>
                <a:gridCol w="1484243"/>
                <a:gridCol w="1706880"/>
                <a:gridCol w="1706880"/>
              </a:tblGrid>
              <a:tr h="742950"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% Lane Miles Good or Better</a:t>
                      </a:r>
                      <a:endParaRPr lang="en-US" sz="18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FY 16</a:t>
                      </a:r>
                      <a:endParaRPr lang="en-US" sz="18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FY 17</a:t>
                      </a:r>
                      <a:endParaRPr lang="en-US" sz="1800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/>
                        <a:t>Change</a:t>
                      </a:r>
                      <a:endParaRPr lang="en-US" sz="1800" dirty="0"/>
                    </a:p>
                  </a:txBody>
                  <a:tcPr marT="34290" marB="34290"/>
                </a:tc>
              </a:tr>
              <a:tr h="572621">
                <a:tc>
                  <a:txBody>
                    <a:bodyPr/>
                    <a:lstStyle/>
                    <a:p>
                      <a:pPr algn="ctr"/>
                      <a:r>
                        <a:rPr lang="en-US" sz="2100" b="1" dirty="0" smtClean="0"/>
                        <a:t>Statewide</a:t>
                      </a:r>
                      <a:endParaRPr lang="en-US" sz="2100" b="1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1" dirty="0" smtClean="0"/>
                        <a:t>87.32%</a:t>
                      </a:r>
                      <a:endParaRPr lang="en-US" sz="2100" b="1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1" dirty="0" smtClean="0"/>
                        <a:t>84.65%</a:t>
                      </a:r>
                      <a:endParaRPr lang="en-US" sz="2100" b="1" dirty="0"/>
                    </a:p>
                  </a:txBody>
                  <a:tcPr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100" b="1" dirty="0" smtClean="0"/>
                        <a:t>-2.67%</a:t>
                      </a:r>
                      <a:endParaRPr lang="en-US" sz="2100" b="1" dirty="0"/>
                    </a:p>
                  </a:txBody>
                  <a:tcPr marT="34290" marB="34290"/>
                </a:tc>
              </a:tr>
            </a:tbl>
          </a:graphicData>
        </a:graphic>
      </p:graphicFrame>
      <p:sp>
        <p:nvSpPr>
          <p:cNvPr id="4" name="Rectangle 3"/>
          <p:cNvSpPr/>
          <p:nvPr/>
        </p:nvSpPr>
        <p:spPr>
          <a:xfrm>
            <a:off x="1219200" y="2628900"/>
            <a:ext cx="541020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More Cracking</a:t>
            </a:r>
          </a:p>
          <a:p>
            <a:endParaRPr lang="en-US" dirty="0"/>
          </a:p>
          <a:p>
            <a:r>
              <a:rPr lang="en-US" dirty="0"/>
              <a:t>More Rutting</a:t>
            </a:r>
          </a:p>
          <a:p>
            <a:pPr lvl="1"/>
            <a:r>
              <a:rPr lang="en-US" dirty="0"/>
              <a:t>(Transitioned from 5 point acoustic sensors to full transverse profile)</a:t>
            </a:r>
          </a:p>
        </p:txBody>
      </p:sp>
    </p:spTree>
    <p:extLst>
      <p:ext uri="{BB962C8B-B14F-4D97-AF65-F5344CB8AC3E}">
        <p14:creationId xmlns:p14="http://schemas.microsoft.com/office/powerpoint/2010/main" val="1772808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act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Magdy Mikhail, P.E.</a:t>
            </a:r>
          </a:p>
          <a:p>
            <a:pPr marL="0" indent="0">
              <a:buNone/>
            </a:pPr>
            <a:r>
              <a:rPr lang="en-US" dirty="0" smtClean="0"/>
              <a:t>Maintenance Division</a:t>
            </a:r>
          </a:p>
          <a:p>
            <a:pPr marL="0" indent="0">
              <a:buNone/>
            </a:pPr>
            <a:r>
              <a:rPr lang="en-US" dirty="0" smtClean="0"/>
              <a:t>Director of Pavement Asset Management Section</a:t>
            </a:r>
          </a:p>
          <a:p>
            <a:pPr marL="0" indent="0">
              <a:buNone/>
            </a:pPr>
            <a:r>
              <a:rPr lang="en-US" dirty="0" smtClean="0">
                <a:hlinkClick r:id="rId2"/>
              </a:rPr>
              <a:t>Magdy.Mikhail@txdot.gov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Phone: (512) 416-3288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16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821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TxDOT Pavement Management System – Pavement Analyst</a:t>
            </a:r>
            <a:endParaRPr lang="en-US" dirty="0"/>
          </a:p>
        </p:txBody>
      </p:sp>
      <p:sp>
        <p:nvSpPr>
          <p:cNvPr id="3" name="Content Placeholder 2"/>
          <p:cNvSpPr txBox="1">
            <a:spLocks/>
          </p:cNvSpPr>
          <p:nvPr/>
        </p:nvSpPr>
        <p:spPr>
          <a:xfrm>
            <a:off x="152401" y="571500"/>
            <a:ext cx="8677275" cy="4114800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30188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514350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74295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97155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14300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b="1" dirty="0" smtClean="0">
                <a:solidFill>
                  <a:prstClr val="black"/>
                </a:solidFill>
              </a:rPr>
              <a:t>Pavement Analyst:</a:t>
            </a:r>
            <a:endParaRPr lang="en-US" sz="2000" b="1" dirty="0" smtClean="0">
              <a:solidFill>
                <a:prstClr val="black"/>
              </a:solidFill>
            </a:endParaRPr>
          </a:p>
          <a:p>
            <a:pPr lvl="2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sz="2000" b="1" dirty="0" smtClean="0">
                <a:solidFill>
                  <a:prstClr val="black"/>
                </a:solidFill>
              </a:rPr>
              <a:t>Web-accessed</a:t>
            </a:r>
          </a:p>
          <a:p>
            <a:pPr lvl="2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sz="2000" b="1" dirty="0" smtClean="0">
                <a:solidFill>
                  <a:prstClr val="black"/>
                </a:solidFill>
              </a:rPr>
              <a:t>Easy Access to all Pavement Condition and Inventory Data</a:t>
            </a:r>
          </a:p>
          <a:p>
            <a:pPr lvl="2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sz="2000" b="1" dirty="0" smtClean="0">
                <a:solidFill>
                  <a:prstClr val="black"/>
                </a:solidFill>
              </a:rPr>
              <a:t>Ability to query and extract  all Pavement  data</a:t>
            </a:r>
          </a:p>
          <a:p>
            <a:pPr lvl="2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sz="2000" b="1" dirty="0" smtClean="0">
                <a:solidFill>
                  <a:prstClr val="black"/>
                </a:solidFill>
              </a:rPr>
              <a:t>Ability to Export Data to Excel, Shape file</a:t>
            </a:r>
          </a:p>
          <a:p>
            <a:pPr lvl="2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sz="2000" b="1" dirty="0" smtClean="0">
                <a:solidFill>
                  <a:prstClr val="black"/>
                </a:solidFill>
              </a:rPr>
              <a:t>Work History &amp; Surface Age (Routine MNT, PM &amp; Rehab)</a:t>
            </a:r>
          </a:p>
          <a:p>
            <a:pPr lvl="2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sz="2000" b="1" dirty="0" smtClean="0">
                <a:solidFill>
                  <a:prstClr val="black"/>
                </a:solidFill>
              </a:rPr>
              <a:t>Summary Reports</a:t>
            </a:r>
            <a:endParaRPr lang="en-US" sz="2000" b="1" dirty="0">
              <a:solidFill>
                <a:prstClr val="black"/>
              </a:solidFill>
            </a:endParaRPr>
          </a:p>
          <a:p>
            <a:pPr lvl="2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prstClr val="black"/>
                </a:solidFill>
              </a:rPr>
              <a:t>A</a:t>
            </a:r>
            <a:r>
              <a:rPr lang="en-US" sz="2000" b="1" dirty="0" smtClean="0">
                <a:solidFill>
                  <a:prstClr val="black"/>
                </a:solidFill>
              </a:rPr>
              <a:t>nalytical capability</a:t>
            </a:r>
          </a:p>
          <a:p>
            <a:pPr lvl="3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sz="2000" b="1" dirty="0" smtClean="0">
                <a:solidFill>
                  <a:prstClr val="black"/>
                </a:solidFill>
              </a:rPr>
              <a:t>Predict future Pavement Condition (</a:t>
            </a:r>
            <a:r>
              <a:rPr lang="en-US" b="1" dirty="0" smtClean="0">
                <a:solidFill>
                  <a:prstClr val="black"/>
                </a:solidFill>
              </a:rPr>
              <a:t>based on available funds &amp; planned projects</a:t>
            </a:r>
            <a:r>
              <a:rPr lang="en-US" sz="2000" b="1" dirty="0" smtClean="0">
                <a:solidFill>
                  <a:prstClr val="black"/>
                </a:solidFill>
              </a:rPr>
              <a:t>)</a:t>
            </a:r>
          </a:p>
          <a:p>
            <a:pPr lvl="3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sz="2000" b="1" dirty="0" smtClean="0">
                <a:solidFill>
                  <a:prstClr val="black"/>
                </a:solidFill>
              </a:rPr>
              <a:t>Evaluate Impact of Funding Levels on Pavement Performance</a:t>
            </a:r>
          </a:p>
          <a:p>
            <a:pPr lvl="3">
              <a:buClr>
                <a:srgbClr val="0A1B2B"/>
              </a:buClr>
              <a:buFont typeface="Wingdings" panose="05000000000000000000" pitchFamily="2" charset="2"/>
              <a:buChar char="§"/>
            </a:pPr>
            <a:r>
              <a:rPr lang="en-US" sz="2000" b="1" dirty="0" smtClean="0">
                <a:solidFill>
                  <a:prstClr val="black"/>
                </a:solidFill>
              </a:rPr>
              <a:t>Determine Funding needs to achieve a Pavement Condition Target</a:t>
            </a:r>
          </a:p>
          <a:p>
            <a:pPr lvl="2">
              <a:buClr>
                <a:srgbClr val="0A1B2B"/>
              </a:buClr>
              <a:buFont typeface="Wingdings" panose="05000000000000000000" pitchFamily="2" charset="2"/>
              <a:buChar char="§"/>
            </a:pPr>
            <a:endParaRPr lang="en-US" sz="2000" b="1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978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5297" y="499883"/>
            <a:ext cx="5634682" cy="4143734"/>
          </a:xfrm>
          <a:prstGeom prst="rect">
            <a:avLst/>
          </a:prstGeom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 MAP Repo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7909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avement Performance Predictio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864601" y="4933950"/>
            <a:ext cx="211057" cy="140631"/>
          </a:xfrm>
          <a:prstGeom prst="rect">
            <a:avLst/>
          </a:prstGeom>
        </p:spPr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19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0013758"/>
              </p:ext>
            </p:extLst>
          </p:nvPr>
        </p:nvGraphicFramePr>
        <p:xfrm>
          <a:off x="152400" y="514350"/>
          <a:ext cx="8839200" cy="4171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404278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1" y="11876"/>
            <a:ext cx="8353425" cy="400110"/>
          </a:xfrm>
        </p:spPr>
        <p:txBody>
          <a:bodyPr/>
          <a:lstStyle/>
          <a:p>
            <a:r>
              <a:rPr lang="en-US" i="1" dirty="0" err="1" smtClean="0"/>
              <a:t>TxDOT’s</a:t>
            </a:r>
            <a:r>
              <a:rPr lang="en-US" i="1" dirty="0" smtClean="0"/>
              <a:t> Safety Rest Area System</a:t>
            </a:r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</a:t>
            </a:fld>
            <a:endParaRPr lang="en-US" dirty="0"/>
          </a:p>
        </p:txBody>
      </p:sp>
      <p:pic>
        <p:nvPicPr>
          <p:cNvPr id="6" name="Picture 4" descr="State of Texas Safety Rest Area location ma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18" y="604158"/>
            <a:ext cx="5588647" cy="40821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693453" y="518985"/>
            <a:ext cx="342180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 smtClean="0"/>
              <a:t>80 Facilities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2000" b="1" dirty="0" smtClean="0"/>
              <a:t>46 New Style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en-US" sz="2000" b="1" dirty="0" smtClean="0"/>
              <a:t>34 Old Style (Pre Interstate)</a:t>
            </a:r>
          </a:p>
        </p:txBody>
      </p:sp>
      <p:pic>
        <p:nvPicPr>
          <p:cNvPr id="153602" name="Picture 2" descr="View of Knox County rest area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38" b="16710"/>
          <a:stretch/>
        </p:blipFill>
        <p:spPr bwMode="auto">
          <a:xfrm>
            <a:off x="5743576" y="3233058"/>
            <a:ext cx="3248025" cy="1166750"/>
          </a:xfrm>
          <a:prstGeom prst="rect">
            <a:avLst/>
          </a:prstGeom>
          <a:noFill/>
          <a:ln w="3175" cmpd="sng">
            <a:solidFill>
              <a:schemeClr val="accent2">
                <a:lumMod val="60000"/>
                <a:lumOff val="4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3603" name="Picture 3" descr="T:\MNTFM\00_SRA General\3_SRA Photos_Videos\Ward\_MG_0349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3920" y="2009240"/>
            <a:ext cx="3213366" cy="1135624"/>
          </a:xfrm>
          <a:prstGeom prst="rect">
            <a:avLst/>
          </a:prstGeom>
          <a:noFill/>
          <a:ln w="19050" cmpd="sng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4799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tact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Magdy Mikhail, P.E.</a:t>
            </a:r>
          </a:p>
          <a:p>
            <a:pPr marL="0" indent="0">
              <a:buNone/>
            </a:pPr>
            <a:r>
              <a:rPr lang="en-US" dirty="0" smtClean="0"/>
              <a:t>Maintenance Division</a:t>
            </a:r>
          </a:p>
          <a:p>
            <a:pPr marL="0" indent="0">
              <a:buNone/>
            </a:pPr>
            <a:r>
              <a:rPr lang="en-US" dirty="0" smtClean="0"/>
              <a:t>Director of Pavement Asset Management Section</a:t>
            </a:r>
          </a:p>
          <a:p>
            <a:pPr marL="0" indent="0">
              <a:buNone/>
            </a:pPr>
            <a:r>
              <a:rPr lang="en-US" dirty="0" smtClean="0">
                <a:hlinkClick r:id="rId2"/>
              </a:rPr>
              <a:t>Magdy.Mikhail@txdot.gov</a:t>
            </a:r>
            <a:endParaRPr lang="en-US" dirty="0" smtClean="0"/>
          </a:p>
          <a:p>
            <a:pPr marL="0" indent="0">
              <a:buNone/>
            </a:pPr>
            <a:r>
              <a:rPr lang="en-US" dirty="0" smtClean="0"/>
              <a:t>Phone: (512) 416-3288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864601" y="4933950"/>
            <a:ext cx="211057" cy="140631"/>
          </a:xfrm>
          <a:prstGeom prst="rect">
            <a:avLst/>
          </a:prstGeom>
        </p:spPr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20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05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9"/>
          <p:cNvSpPr txBox="1">
            <a:spLocks/>
          </p:cNvSpPr>
          <p:nvPr/>
        </p:nvSpPr>
        <p:spPr bwMode="gray">
          <a:xfrm>
            <a:off x="457200" y="2990088"/>
            <a:ext cx="4602047" cy="1676400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>
              <a:tabLst>
                <a:tab pos="114300" algn="l"/>
                <a:tab pos="1543050" algn="l"/>
              </a:tabLst>
            </a:pPr>
            <a:r>
              <a:rPr sz="2400" dirty="0" smtClean="0">
                <a:solidFill>
                  <a:srgbClr val="0A1B2B"/>
                </a:solidFill>
                <a:latin typeface="Franklin Gothic Book" panose="020B0503020102020204" pitchFamily="34" charset="0"/>
              </a:rPr>
              <a:t>Hurricane </a:t>
            </a:r>
            <a:r>
              <a:rPr sz="2400" dirty="0">
                <a:solidFill>
                  <a:srgbClr val="0A1B2B"/>
                </a:solidFill>
                <a:latin typeface="Franklin Gothic Book" panose="020B0503020102020204" pitchFamily="34" charset="0"/>
              </a:rPr>
              <a:t>Harvey </a:t>
            </a:r>
            <a:r>
              <a:rPr sz="2400" dirty="0" smtClean="0">
                <a:solidFill>
                  <a:srgbClr val="0A1B2B"/>
                </a:solidFill>
                <a:latin typeface="Franklin Gothic Book" panose="020B0503020102020204" pitchFamily="34" charset="0"/>
              </a:rPr>
              <a:t>Hits Texas</a:t>
            </a:r>
          </a:p>
          <a:p>
            <a:pPr>
              <a:tabLst>
                <a:tab pos="114300" algn="l"/>
                <a:tab pos="1543050" algn="l"/>
              </a:tabLst>
            </a:pPr>
            <a:r>
              <a:rPr sz="2400" dirty="0" smtClean="0">
                <a:solidFill>
                  <a:srgbClr val="0A1B2B"/>
                </a:solidFill>
                <a:latin typeface="Franklin Gothic Book" panose="020B0503020102020204" pitchFamily="34" charset="0"/>
              </a:rPr>
              <a:t>TxDOT Responds and Rebuilds</a:t>
            </a:r>
            <a:r>
              <a:rPr sz="2000" cap="none" dirty="0">
                <a:solidFill>
                  <a:prstClr val="black"/>
                </a:solidFill>
              </a:rPr>
              <a:t>	</a:t>
            </a:r>
            <a:r>
              <a:rPr sz="2400" b="1" cap="small" dirty="0">
                <a:solidFill>
                  <a:srgbClr val="0A1B2B">
                    <a:lumMod val="75000"/>
                    <a:lumOff val="2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sz="2400" b="1" cap="small" dirty="0">
                <a:solidFill>
                  <a:srgbClr val="0A1B2B">
                    <a:lumMod val="75000"/>
                    <a:lumOff val="2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sz="1200" b="1" cap="small" dirty="0">
              <a:solidFill>
                <a:srgbClr val="0A1B2B">
                  <a:lumMod val="75000"/>
                  <a:lumOff val="25000"/>
                </a:srgb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tabLst>
                <a:tab pos="114300" algn="l"/>
                <a:tab pos="1543050" algn="l"/>
              </a:tabLst>
            </a:pPr>
            <a:r>
              <a:rPr sz="3200" b="1" cap="small" dirty="0">
                <a:solidFill>
                  <a:srgbClr val="0A1B2B"/>
                </a:solidFill>
              </a:rPr>
              <a:t/>
            </a:r>
            <a:br>
              <a:rPr sz="3200" b="1" cap="small" dirty="0">
                <a:solidFill>
                  <a:srgbClr val="0A1B2B"/>
                </a:solidFill>
              </a:rPr>
            </a:br>
            <a:endParaRPr sz="1600" dirty="0">
              <a:solidFill>
                <a:srgbClr val="0A1B2B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629400" y="4771376"/>
            <a:ext cx="22917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 smtClean="0">
                <a:solidFill>
                  <a:prstClr val="white"/>
                </a:solidFill>
              </a:rPr>
              <a:t>September 2017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488279" y="893711"/>
            <a:ext cx="8167443" cy="1906639"/>
            <a:chOff x="505313" y="993612"/>
            <a:chExt cx="8105287" cy="1892129"/>
          </a:xfrm>
        </p:grpSpPr>
        <p:pic>
          <p:nvPicPr>
            <p:cNvPr id="156674" name="Picture 2" descr="Image may contain: sky and outdoor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4820" y="993613"/>
              <a:ext cx="2215780" cy="1892127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6676" name="Picture 4" descr="Image may contain: sky and outdoor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5313" y="993613"/>
              <a:ext cx="3365113" cy="1892128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66" name="Picture 2" descr="T:\AEO\Hurricane Harvey\HOU\Beltway 8.jpe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73473" y="993612"/>
              <a:ext cx="1425459" cy="1892128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67" name="Picture 3" descr="T:\AEO\Hurricane Harvey\HOU\High Rise Appts and vehicle underwater_RL.jpe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01979" y="993612"/>
              <a:ext cx="789794" cy="1892128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791677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2</a:t>
            </a:fld>
            <a:endParaRPr lang="en-US" dirty="0"/>
          </a:p>
        </p:txBody>
      </p:sp>
      <p:pic>
        <p:nvPicPr>
          <p:cNvPr id="154626" name="Picture 2" descr="C:\Users\RNEVEU\Desktop\harvey-recap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09" y="535132"/>
            <a:ext cx="9080384" cy="3829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04800" y="7255"/>
            <a:ext cx="8229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</a:rPr>
              <a:t>The Formation of Hurricane Harvey</a:t>
            </a:r>
          </a:p>
        </p:txBody>
      </p:sp>
    </p:spTree>
    <p:extLst>
      <p:ext uri="{BB962C8B-B14F-4D97-AF65-F5344CB8AC3E}">
        <p14:creationId xmlns:p14="http://schemas.microsoft.com/office/powerpoint/2010/main" val="3312415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247816" y="32720"/>
            <a:ext cx="8353425" cy="400110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kern="1200" dirty="0" smtClean="0">
                <a:solidFill>
                  <a:schemeClr val="bg1"/>
                </a:solidFill>
                <a:effectLst/>
                <a:latin typeface="Franklin Gothic Demi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7-Day Radar Loop</a:t>
            </a:r>
            <a:endParaRPr lang="en-US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18" y="742950"/>
            <a:ext cx="1780954" cy="158558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4" name="Picture 4" descr="C:\Users\JWILL14\AppData\Local\Microsoft\Windows\Temporary Internet Files\Content.Outlook\V2GKYL36\08.25.17 1158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92565" y="742950"/>
            <a:ext cx="1774592" cy="158558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5" name="Picture 5" descr="C:\Users\JWILL14\AppData\Local\Microsoft\Windows\Temporary Internet Files\Content.Outlook\V2GKYL36\08.25.17 160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12374" y="742950"/>
            <a:ext cx="1794783" cy="158558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6" name="Picture 6" descr="C:\Users\JWILL14\AppData\Local\Microsoft\Windows\Temporary Internet Files\Content.Outlook\V2GKYL36\08.26.17 0138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321" y="742950"/>
            <a:ext cx="1794782" cy="1609946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7" name="Picture 7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1897" y="752475"/>
            <a:ext cx="1772976" cy="158801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8" name="Picture 8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675" y="2800350"/>
            <a:ext cx="1812897" cy="162619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49" name="Picture 9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2217" y="2790160"/>
            <a:ext cx="1815288" cy="162619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50" name="Picture 10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1395" y="2781725"/>
            <a:ext cx="1828800" cy="164482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51" name="Picture 11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8438" y="2781725"/>
            <a:ext cx="1739894" cy="164482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52" name="Picture 1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2270" y="2790160"/>
            <a:ext cx="1787579" cy="163638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255305" y="2461988"/>
            <a:ext cx="705308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Franklin Gothic Book" panose="020B0503020102020204" pitchFamily="34" charset="0"/>
              </a:rPr>
              <a:t>Hurricane Harvey approaching landfall and moving across southeast Texas, August 25 – August 31, 2017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52400" y="514350"/>
            <a:ext cx="891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    </a:t>
            </a:r>
            <a:r>
              <a:rPr lang="en-US" sz="1200" dirty="0"/>
              <a:t>8/25/2017 </a:t>
            </a:r>
            <a:r>
              <a:rPr lang="en-US" sz="1200" dirty="0" smtClean="0"/>
              <a:t>2:08                  8/25/2017 11:58                 8/25/2017 16:08                     8/26/2017 1:38                8/26/2017 17:18                                                            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52065" y="4416356"/>
            <a:ext cx="8915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    8/27/2017 10:38               8/28/2017 13:58                      8/29/2017 8:08                   8/30/2017 16:58               8/31/2017 6:38                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475110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xDOT</a:t>
            </a:r>
            <a:r>
              <a:rPr lang="en-US" dirty="0" smtClean="0"/>
              <a:t> Distric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4</a:t>
            </a:fld>
            <a:endParaRPr lang="en-US" dirty="0"/>
          </a:p>
        </p:txBody>
      </p:sp>
      <p:pic>
        <p:nvPicPr>
          <p:cNvPr id="1566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7288" y="562232"/>
            <a:ext cx="6829425" cy="4028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8594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urricane Re-entry Pla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5</a:t>
            </a:fld>
            <a:endParaRPr lang="en-US" dirty="0"/>
          </a:p>
        </p:txBody>
      </p:sp>
      <p:pic>
        <p:nvPicPr>
          <p:cNvPr id="1587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6503" y="525163"/>
            <a:ext cx="7247238" cy="41642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17187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urricane Re-entry Plan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6</a:t>
            </a:fld>
            <a:endParaRPr lang="en-US" dirty="0"/>
          </a:p>
        </p:txBody>
      </p:sp>
      <p:pic>
        <p:nvPicPr>
          <p:cNvPr id="1597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541" y="525162"/>
            <a:ext cx="6833286" cy="41271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3446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xDOT’s Maintenance Division Emergency Operations Center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7</a:t>
            </a:fld>
            <a:endParaRPr lang="en-US" dirty="0"/>
          </a:p>
        </p:txBody>
      </p:sp>
      <p:pic>
        <p:nvPicPr>
          <p:cNvPr id="15257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0" y="666750"/>
            <a:ext cx="6857999" cy="3857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9449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8</a:t>
            </a:fld>
            <a:endParaRPr lang="en-US" dirty="0"/>
          </a:p>
        </p:txBody>
      </p:sp>
      <p:pic>
        <p:nvPicPr>
          <p:cNvPr id="153602" name="Picture 2" descr="C:\Users\RNEVEU\Desktop\DIqtxE3UIAA_RW5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05" y="512805"/>
            <a:ext cx="5233087" cy="4151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387546" y="512805"/>
            <a:ext cx="3595816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Historic Hurricane Harvey Facts:</a:t>
            </a:r>
          </a:p>
          <a:p>
            <a:endParaRPr lang="en-US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he areal coverage of locations picking up at least 20 inches of rain was greater than the state of West Virginia, while the 40-inch-plus zone was larger than Delaware</a:t>
            </a:r>
            <a:r>
              <a:rPr lang="en-US" sz="1200" dirty="0" smtClean="0"/>
              <a:t>.</a:t>
            </a:r>
          </a:p>
          <a:p>
            <a:endParaRPr lang="en-US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he top rainfall total is 60.58 inches in Nederland, Texas from Aug. 24-Sep. 1. Incredibly, a second site, Groves, Texas, also topped the record book by receiving more than 60 inches during that same time period. Both of these topped the previous tropical cyclone rainfall record</a:t>
            </a:r>
            <a:r>
              <a:rPr lang="en-US" sz="1200" dirty="0" smtClean="0"/>
              <a:t>.</a:t>
            </a:r>
          </a:p>
          <a:p>
            <a:endParaRPr lang="en-US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Pending final confirmation, this rainfall total would be the heaviest from any tropical cyclone in the U.S. in records dating to 1950, topping the 48-inch storm total in Medina, Texas, from Tropical Storm Amelia in 1978, according to research by NOAA/WPC meteorologist David Roth.</a:t>
            </a:r>
            <a:endParaRPr lang="en-US" sz="12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dirty="0" err="1" smtClean="0"/>
          </a:p>
        </p:txBody>
      </p:sp>
    </p:spTree>
    <p:extLst>
      <p:ext uri="{BB962C8B-B14F-4D97-AF65-F5344CB8AC3E}">
        <p14:creationId xmlns:p14="http://schemas.microsoft.com/office/powerpoint/2010/main" val="615313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816" y="32720"/>
            <a:ext cx="8353425" cy="400110"/>
          </a:xfrm>
        </p:spPr>
        <p:txBody>
          <a:bodyPr/>
          <a:lstStyle/>
          <a:p>
            <a:r>
              <a:rPr lang="en-US" dirty="0" err="1" smtClean="0"/>
              <a:t>TxDOT</a:t>
            </a:r>
            <a:r>
              <a:rPr lang="en-US" dirty="0" smtClean="0"/>
              <a:t> responds to Hurricane Harve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29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292" name="Picture 4" descr="T:\AEO\Hurricane Harvey\CRP\Building seawall in Pt Aransas (Austin American-Statesman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3500" y="666750"/>
            <a:ext cx="6477000" cy="35056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333500" y="4172426"/>
            <a:ext cx="6400800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TxDOT crews install a surge wall on SH 361 in Aransas Pass on Aug. 25, hours before Hurricane Harvey devastated the area. (Photo: </a:t>
            </a:r>
            <a:r>
              <a:rPr lang="en-US" sz="1200" dirty="0">
                <a:latin typeface="Franklin Gothic Book" panose="020B0503020102020204" pitchFamily="34" charset="0"/>
              </a:rPr>
              <a:t>Nick </a:t>
            </a:r>
            <a:r>
              <a:rPr lang="en-US" sz="1200" dirty="0" smtClean="0">
                <a:latin typeface="Franklin Gothic Book" panose="020B0503020102020204" pitchFamily="34" charset="0"/>
              </a:rPr>
              <a:t>Wagner, Austin American-Statesman)</a:t>
            </a:r>
            <a:endParaRPr lang="en-US" sz="1200" dirty="0">
              <a:latin typeface="Franklin Gothic Book" panose="020B05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244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1" y="11876"/>
            <a:ext cx="8353425" cy="400110"/>
          </a:xfrm>
        </p:spPr>
        <p:txBody>
          <a:bodyPr/>
          <a:lstStyle/>
          <a:p>
            <a:r>
              <a:rPr lang="en-US" dirty="0" smtClean="0"/>
              <a:t>SAFETY REST AREA PROJEC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3</a:t>
            </a:fld>
            <a:endParaRPr lang="en-US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8175763"/>
              </p:ext>
            </p:extLst>
          </p:nvPr>
        </p:nvGraphicFramePr>
        <p:xfrm>
          <a:off x="152400" y="619963"/>
          <a:ext cx="3657600" cy="38095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4760"/>
                <a:gridCol w="1146267"/>
                <a:gridCol w="536249"/>
                <a:gridCol w="1430324"/>
              </a:tblGrid>
              <a:tr h="17145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sng" strike="noStrike" dirty="0">
                          <a:effectLst/>
                        </a:rPr>
                        <a:t>YEAR</a:t>
                      </a:r>
                      <a:endParaRPr lang="en-US" sz="800" b="1" i="0" u="sng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sng" strike="noStrike" dirty="0">
                          <a:effectLst/>
                        </a:rPr>
                        <a:t>COUNTY</a:t>
                      </a:r>
                      <a:endParaRPr lang="en-US" sz="800" b="1" i="0" u="sng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sng" strike="noStrike" dirty="0">
                          <a:effectLst/>
                        </a:rPr>
                        <a:t>#</a:t>
                      </a:r>
                      <a:endParaRPr lang="en-US" sz="800" b="1" i="0" u="sng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sng" strike="noStrike" dirty="0">
                          <a:effectLst/>
                        </a:rPr>
                        <a:t>$</a:t>
                      </a:r>
                      <a:endParaRPr lang="en-US" sz="800" b="1" i="0" u="sng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21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1998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 smtClean="0">
                          <a:effectLst/>
                        </a:rPr>
                        <a:t>Brooks*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1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i="0" u="none" strike="noStrike" dirty="0" smtClean="0">
                          <a:effectLst/>
                          <a:latin typeface="Arial"/>
                        </a:rPr>
                        <a:t>132,000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2000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 smtClean="0">
                          <a:effectLst/>
                        </a:rPr>
                        <a:t>Colorado*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37,010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2001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>
                          <a:effectLst/>
                        </a:rPr>
                        <a:t>Gillespie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1,169,000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2001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Kenedy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1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,308,000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1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>
                          <a:effectLst/>
                        </a:rPr>
                        <a:t>Live </a:t>
                      </a:r>
                      <a:r>
                        <a:rPr lang="en-US" sz="800" b="1" u="none" strike="noStrike" dirty="0" smtClean="0">
                          <a:effectLst/>
                        </a:rPr>
                        <a:t>Oak*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1,750,000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>
                          <a:effectLst/>
                        </a:rPr>
                        <a:t>Hardeman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9,269,000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>
                          <a:effectLst/>
                        </a:rPr>
                        <a:t>Donley/Gray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16,848,488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 smtClean="0">
                          <a:effectLst/>
                        </a:rPr>
                        <a:t>Victoria*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3,229,000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3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>
                          <a:effectLst/>
                        </a:rPr>
                        <a:t>Coke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1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1,895,000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3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>
                          <a:effectLst/>
                        </a:rPr>
                        <a:t>Donley US 287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2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10,499,000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4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Hale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2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5,494,000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4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Medina US 90c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1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4,890,000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4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Cherokee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1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1,279,239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5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Culberson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1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,260,293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6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Guadalupe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2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10,567,256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7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Walker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2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17,852,000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7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Polk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2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7,774,900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8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Bell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16,408,000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9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Navarro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15,501,394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09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Chambers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15,500,000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1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Ward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14,473,729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13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La Salle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14,508,653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13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>
                          <a:effectLst/>
                        </a:rPr>
                        <a:t>Hill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15,253,154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14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>
                          <a:effectLst/>
                        </a:rPr>
                        <a:t>Eastland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16,358,387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535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15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>
                          <a:effectLst/>
                        </a:rPr>
                        <a:t>Pecos (W)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23,135,092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2120"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>
                          <a:effectLst/>
                        </a:rPr>
                        <a:t>2016</a:t>
                      </a:r>
                      <a:endParaRPr lang="en-US" sz="800" b="1" i="0" u="none" strike="noStrike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>
                          <a:effectLst/>
                        </a:rPr>
                        <a:t>Hopkins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sng" strike="noStrike" dirty="0">
                          <a:effectLst/>
                        </a:rPr>
                        <a:t>2</a:t>
                      </a:r>
                      <a:endParaRPr lang="en-US" sz="800" b="1" i="0" u="sng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sng" strike="noStrike" dirty="0">
                          <a:effectLst/>
                        </a:rPr>
                        <a:t>23,690,540</a:t>
                      </a:r>
                      <a:endParaRPr lang="en-US" sz="800" b="1" i="0" u="sng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  <a:tr h="134183">
                <a:tc>
                  <a:txBody>
                    <a:bodyPr/>
                    <a:lstStyle/>
                    <a:p>
                      <a:pPr algn="ctr" fontAlgn="b"/>
                      <a:endParaRPr lang="en-US" sz="7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>
                          <a:effectLst/>
                        </a:rPr>
                        <a:t>46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800" b="1" u="none" strike="noStrike" dirty="0" smtClean="0">
                          <a:effectLst/>
                        </a:rPr>
                        <a:t>$252,283,135</a:t>
                      </a:r>
                      <a:endParaRPr lang="en-US" sz="800" b="1" i="0" u="none" strike="noStrike" dirty="0">
                        <a:effectLst/>
                        <a:latin typeface="Arial"/>
                      </a:endParaRPr>
                    </a:p>
                  </a:txBody>
                  <a:tcPr marL="8520" marR="8520" marT="6390" marB="0" anchor="b"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2590800" y="4501813"/>
            <a:ext cx="116891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 smtClean="0"/>
              <a:t>*  Renovati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093342" y="3083011"/>
            <a:ext cx="502920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 smtClean="0"/>
              <a:t>Future Projects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 smtClean="0"/>
              <a:t>Minimum 5000 vehicles per day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 smtClean="0"/>
              <a:t>Long distance travel corridor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 smtClean="0"/>
              <a:t>Prioritize with fatigue related accident data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 smtClean="0"/>
              <a:t>One hour drive spacing  (or from metropolitan areas)</a:t>
            </a:r>
          </a:p>
        </p:txBody>
      </p:sp>
      <p:pic>
        <p:nvPicPr>
          <p:cNvPr id="15257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50" b="9090"/>
          <a:stretch/>
        </p:blipFill>
        <p:spPr bwMode="auto">
          <a:xfrm>
            <a:off x="6467594" y="571500"/>
            <a:ext cx="2185695" cy="2356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2580" name="Picture 4" descr="The new Donley County Safety Rest Areas on US-28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800" y="571500"/>
            <a:ext cx="1922782" cy="1030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2582" name="Picture 6" descr="View of the new Hardeman County Safety Rest Area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95" t="24517"/>
          <a:stretch/>
        </p:blipFill>
        <p:spPr bwMode="auto">
          <a:xfrm>
            <a:off x="4114800" y="1749918"/>
            <a:ext cx="1922782" cy="10629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2835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vey’s </a:t>
            </a:r>
            <a:r>
              <a:rPr lang="en-US" dirty="0" smtClean="0"/>
              <a:t>impact </a:t>
            </a:r>
            <a:r>
              <a:rPr lang="en-US" dirty="0"/>
              <a:t>on </a:t>
            </a:r>
            <a:r>
              <a:rPr lang="en-US" dirty="0" smtClean="0"/>
              <a:t>southeast Texas (Houston District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30</a:t>
            </a:fld>
            <a:endParaRPr lang="en-US" dirty="0"/>
          </a:p>
        </p:txBody>
      </p:sp>
      <p:pic>
        <p:nvPicPr>
          <p:cNvPr id="1576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0725150"/>
            <a:ext cx="3055826" cy="4074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770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3400" y="10877550"/>
            <a:ext cx="6197600" cy="464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6" name="Group 5"/>
          <p:cNvGrpSpPr/>
          <p:nvPr/>
        </p:nvGrpSpPr>
        <p:grpSpPr>
          <a:xfrm>
            <a:off x="431647" y="819150"/>
            <a:ext cx="8280707" cy="3276600"/>
            <a:chOff x="414472" y="819150"/>
            <a:chExt cx="8280707" cy="3276600"/>
          </a:xfrm>
        </p:grpSpPr>
        <p:pic>
          <p:nvPicPr>
            <p:cNvPr id="157704" name="Picture 8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4472" y="819150"/>
              <a:ext cx="3996215" cy="3276600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  <p:pic>
          <p:nvPicPr>
            <p:cNvPr id="5" name="Picture 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68573" y="819150"/>
              <a:ext cx="3926606" cy="3276600"/>
            </a:xfrm>
            <a:prstGeom prst="rect">
              <a:avLst/>
            </a:prstGeom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TextBox 3"/>
          <p:cNvSpPr txBox="1"/>
          <p:nvPr/>
        </p:nvSpPr>
        <p:spPr>
          <a:xfrm>
            <a:off x="431647" y="4095750"/>
            <a:ext cx="4739697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I-10 W between Eldridge Pkwy and SH 6, Harris County.</a:t>
            </a:r>
          </a:p>
        </p:txBody>
      </p:sp>
    </p:spTree>
    <p:extLst>
      <p:ext uri="{BB962C8B-B14F-4D97-AF65-F5344CB8AC3E}">
        <p14:creationId xmlns:p14="http://schemas.microsoft.com/office/powerpoint/2010/main" val="364775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vey’s </a:t>
            </a:r>
            <a:r>
              <a:rPr lang="en-US" dirty="0" smtClean="0"/>
              <a:t>impact </a:t>
            </a:r>
            <a:r>
              <a:rPr lang="en-US" dirty="0"/>
              <a:t>on </a:t>
            </a:r>
            <a:r>
              <a:rPr lang="en-US" dirty="0" smtClean="0"/>
              <a:t>southeast Texas (Houston District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31</a:t>
            </a:fld>
            <a:endParaRPr lang="en-US" dirty="0"/>
          </a:p>
        </p:txBody>
      </p:sp>
      <p:pic>
        <p:nvPicPr>
          <p:cNvPr id="1576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0725150"/>
            <a:ext cx="3055826" cy="4074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770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3400" y="10877550"/>
            <a:ext cx="6197600" cy="464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" name="Group 6"/>
          <p:cNvGrpSpPr/>
          <p:nvPr/>
        </p:nvGrpSpPr>
        <p:grpSpPr>
          <a:xfrm>
            <a:off x="327290" y="1020271"/>
            <a:ext cx="8489420" cy="3316864"/>
            <a:chOff x="327290" y="1020271"/>
            <a:chExt cx="8489420" cy="3316864"/>
          </a:xfrm>
        </p:grpSpPr>
        <p:sp>
          <p:nvSpPr>
            <p:cNvPr id="5" name="TextBox 4"/>
            <p:cNvSpPr txBox="1"/>
            <p:nvPr/>
          </p:nvSpPr>
          <p:spPr>
            <a:xfrm>
              <a:off x="327290" y="3867150"/>
              <a:ext cx="2073649" cy="461665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dirty="0" smtClean="0">
                  <a:latin typeface="Franklin Gothic Book" panose="020B0503020102020204" pitchFamily="34" charset="0"/>
                </a:rPr>
                <a:t>Sam Houston Tollway at Buffalo Bayou, Harris County.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2633227" y="3867151"/>
              <a:ext cx="3386573" cy="461665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dirty="0" smtClean="0">
                  <a:latin typeface="Franklin Gothic Book" panose="020B0503020102020204" pitchFamily="34" charset="0"/>
                </a:rPr>
                <a:t>Water level of the Brazos River under I-69 South in Fort Bend County.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985228" y="3875470"/>
              <a:ext cx="1831481" cy="461665"/>
            </a:xfrm>
            <a:prstGeom prst="rect">
              <a:avLst/>
            </a:prstGeom>
            <a:noFill/>
          </p:spPr>
          <p:txBody>
            <a:bodyPr wrap="square" lIns="0" rtlCol="0">
              <a:spAutoFit/>
            </a:bodyPr>
            <a:lstStyle/>
            <a:p>
              <a:r>
                <a:rPr lang="en-US" sz="1200" dirty="0" smtClean="0">
                  <a:latin typeface="Franklin Gothic Book" panose="020B0503020102020204" pitchFamily="34" charset="0"/>
                </a:rPr>
                <a:t>Brazos River at Richmond, Fort Bend County.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327290" y="1020271"/>
              <a:ext cx="8489420" cy="2850318"/>
              <a:chOff x="1066800" y="864432"/>
              <a:chExt cx="7189933" cy="2414016"/>
            </a:xfrm>
          </p:grpSpPr>
          <p:pic>
            <p:nvPicPr>
              <p:cNvPr id="12292" name="Picture 4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05599" y="864432"/>
                <a:ext cx="1551134" cy="241401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" name="Picture 2" descr="T:\AEO\Hurricane Harvey\HOU\IMG_0165_RL.jpeg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66800" y="864432"/>
                <a:ext cx="1756233" cy="2414016"/>
              </a:xfrm>
              <a:prstGeom prst="rect">
                <a:avLst/>
              </a:prstGeom>
              <a:noFill/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7410" name="Picture 2" descr="T:\AEO\Hurricane Harvey\HOU\BRG Underpass.jpeg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19765" y="864432"/>
                <a:ext cx="3484521" cy="241110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153030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vey’s </a:t>
            </a:r>
            <a:r>
              <a:rPr lang="en-US" dirty="0" smtClean="0"/>
              <a:t>impact </a:t>
            </a:r>
            <a:r>
              <a:rPr lang="en-US" dirty="0"/>
              <a:t>on </a:t>
            </a:r>
            <a:r>
              <a:rPr lang="en-US" dirty="0" smtClean="0"/>
              <a:t>southeast Texas (Houston District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32</a:t>
            </a:fld>
            <a:endParaRPr lang="en-US" dirty="0"/>
          </a:p>
        </p:txBody>
      </p:sp>
      <p:pic>
        <p:nvPicPr>
          <p:cNvPr id="1576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0725150"/>
            <a:ext cx="3055826" cy="4074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770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3400" y="10877550"/>
            <a:ext cx="6197600" cy="464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857596" y="819150"/>
            <a:ext cx="24039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latin typeface="Franklin Gothic Heavy" panose="020B0903020102020204" pitchFamily="34" charset="0"/>
              </a:rPr>
              <a:t>Brazos River at Richmond, Fort Bend County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677188" y="682119"/>
            <a:ext cx="7789625" cy="3947031"/>
            <a:chOff x="135175" y="604411"/>
            <a:chExt cx="7789625" cy="3947031"/>
          </a:xfrm>
        </p:grpSpPr>
        <p:grpSp>
          <p:nvGrpSpPr>
            <p:cNvPr id="4" name="Group 3"/>
            <p:cNvGrpSpPr/>
            <p:nvPr/>
          </p:nvGrpSpPr>
          <p:grpSpPr>
            <a:xfrm>
              <a:off x="135175" y="604411"/>
              <a:ext cx="7789625" cy="3670032"/>
              <a:chOff x="135175" y="604411"/>
              <a:chExt cx="8621311" cy="4061876"/>
            </a:xfrm>
          </p:grpSpPr>
          <p:pic>
            <p:nvPicPr>
              <p:cNvPr id="11266" name="Picture 2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5175" y="604411"/>
                <a:ext cx="4550253" cy="406187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267" name="Picture 3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953000" y="604411"/>
                <a:ext cx="3803486" cy="406187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13" name="TextBox 12"/>
            <p:cNvSpPr txBox="1"/>
            <p:nvPr/>
          </p:nvSpPr>
          <p:spPr>
            <a:xfrm>
              <a:off x="135175" y="4274443"/>
              <a:ext cx="778962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>
                  <a:latin typeface="Franklin Gothic Book" panose="020B0503020102020204" pitchFamily="34" charset="0"/>
                </a:rPr>
                <a:t>I-10 at San Jacinto River in Harris County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9109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arvey’s impact on south Texas  (Corpus Christi District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33</a:t>
            </a:fld>
            <a:endParaRPr lang="en-US" dirty="0"/>
          </a:p>
        </p:txBody>
      </p:sp>
      <p:pic>
        <p:nvPicPr>
          <p:cNvPr id="16077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4200" y="14001750"/>
            <a:ext cx="38404800" cy="2880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077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6454" y="9810750"/>
            <a:ext cx="12310104" cy="7566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01150" y="3790950"/>
            <a:ext cx="4139716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Drill ship broke free from its moorings near </a:t>
            </a:r>
            <a:r>
              <a:rPr lang="en-US" sz="1200" dirty="0" err="1" smtClean="0">
                <a:latin typeface="Franklin Gothic Book" panose="020B0503020102020204" pitchFamily="34" charset="0"/>
              </a:rPr>
              <a:t>TxDOT’s</a:t>
            </a:r>
            <a:r>
              <a:rPr lang="en-US" sz="1200" dirty="0" smtClean="0">
                <a:latin typeface="Franklin Gothic Book" panose="020B0503020102020204" pitchFamily="34" charset="0"/>
              </a:rPr>
              <a:t> ferry system in Port Aransas and beached near the jetties.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01150" y="881174"/>
            <a:ext cx="8341701" cy="2903131"/>
            <a:chOff x="84594" y="598081"/>
            <a:chExt cx="9195858" cy="3200400"/>
          </a:xfrm>
        </p:grpSpPr>
        <p:pic>
          <p:nvPicPr>
            <p:cNvPr id="15362" name="Picture 2" descr="T:\AEO\Hurricane Harvey\CRP\Drill Ship_Port A (2)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94" y="598082"/>
              <a:ext cx="4563606" cy="3200399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363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3000" y="598081"/>
              <a:ext cx="4327452" cy="3200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" name="TextBox 10"/>
          <p:cNvSpPr txBox="1"/>
          <p:nvPr/>
        </p:nvSpPr>
        <p:spPr>
          <a:xfrm>
            <a:off x="4817354" y="3784305"/>
            <a:ext cx="3925497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err="1" smtClean="0">
                <a:latin typeface="Franklin Gothic Book" panose="020B0503020102020204" pitchFamily="34" charset="0"/>
              </a:rPr>
              <a:t>TxDOT</a:t>
            </a:r>
            <a:r>
              <a:rPr lang="en-US" sz="1200" dirty="0" smtClean="0">
                <a:latin typeface="Franklin Gothic Book" panose="020B0503020102020204" pitchFamily="34" charset="0"/>
              </a:rPr>
              <a:t> ferry, R.E. </a:t>
            </a:r>
            <a:r>
              <a:rPr lang="en-US" sz="1200" dirty="0" err="1" smtClean="0">
                <a:latin typeface="Franklin Gothic Book" panose="020B0503020102020204" pitchFamily="34" charset="0"/>
              </a:rPr>
              <a:t>Stotzer</a:t>
            </a:r>
            <a:r>
              <a:rPr lang="en-US" sz="1200" dirty="0" smtClean="0">
                <a:latin typeface="Franklin Gothic Book" panose="020B0503020102020204" pitchFamily="34" charset="0"/>
              </a:rPr>
              <a:t> Jr., pushed onto pile clusters by Harvey.  Vessel returned to service after US Coast Guard found it to be undamaged.</a:t>
            </a:r>
          </a:p>
        </p:txBody>
      </p:sp>
    </p:spTree>
    <p:extLst>
      <p:ext uri="{BB962C8B-B14F-4D97-AF65-F5344CB8AC3E}">
        <p14:creationId xmlns:p14="http://schemas.microsoft.com/office/powerpoint/2010/main" val="163505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34</a:t>
            </a:fld>
            <a:endParaRPr lang="en-US" dirty="0"/>
          </a:p>
        </p:txBody>
      </p:sp>
      <p:pic>
        <p:nvPicPr>
          <p:cNvPr id="154626" name="Picture 2" descr="U:\ITE\HighWaterSupport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12" y="571500"/>
            <a:ext cx="9121588" cy="411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54106" y="0"/>
            <a:ext cx="8458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Franklin Gothic Heavy" panose="020B0903020102020204" pitchFamily="34" charset="0"/>
              </a:rPr>
              <a:t>T</a:t>
            </a:r>
            <a:r>
              <a:rPr lang="en-US" sz="2000" dirty="0" smtClean="0">
                <a:solidFill>
                  <a:schemeClr val="bg1"/>
                </a:solidFill>
                <a:latin typeface="Franklin Gothic Heavy" panose="020B0903020102020204" pitchFamily="34" charset="0"/>
              </a:rPr>
              <a:t>xDOT Responds to the Call</a:t>
            </a:r>
            <a:endParaRPr lang="en-US" sz="2000" dirty="0" smtClean="0">
              <a:latin typeface="Franklin Gothic Heavy" panose="020B09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5680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vey’s </a:t>
            </a:r>
            <a:r>
              <a:rPr lang="en-US" dirty="0" smtClean="0"/>
              <a:t>impact </a:t>
            </a:r>
            <a:r>
              <a:rPr lang="en-US" dirty="0"/>
              <a:t>on </a:t>
            </a:r>
            <a:r>
              <a:rPr lang="en-US" dirty="0" smtClean="0"/>
              <a:t>southeast Texas (Beaumont District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35</a:t>
            </a:fld>
            <a:endParaRPr lang="en-US" dirty="0"/>
          </a:p>
        </p:txBody>
      </p:sp>
      <p:pic>
        <p:nvPicPr>
          <p:cNvPr id="1576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0725150"/>
            <a:ext cx="3055826" cy="4074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770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3400" y="10877550"/>
            <a:ext cx="6197600" cy="464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5562600" y="1230509"/>
            <a:ext cx="3200400" cy="83099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Sept. 1, as water began receding off I-10 at Oak Island Road in Chambers County, the amount of debris was significant including bales of hay on the highway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580321" y="3036153"/>
            <a:ext cx="3048000" cy="101566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I-10 </a:t>
            </a:r>
            <a:r>
              <a:rPr lang="en-US" sz="1200" dirty="0">
                <a:latin typeface="Franklin Gothic Book" panose="020B0503020102020204" pitchFamily="34" charset="0"/>
              </a:rPr>
              <a:t>just west of the Beaumont city limits became impassable </a:t>
            </a:r>
            <a:r>
              <a:rPr lang="en-US" sz="1200" dirty="0" smtClean="0">
                <a:latin typeface="Franklin Gothic Book" panose="020B0503020102020204" pitchFamily="34" charset="0"/>
              </a:rPr>
              <a:t>Aug. 28 </a:t>
            </a:r>
            <a:r>
              <a:rPr lang="en-US" sz="1200" dirty="0">
                <a:latin typeface="Franklin Gothic Book" panose="020B0503020102020204" pitchFamily="34" charset="0"/>
              </a:rPr>
              <a:t>forcing all east and westbound lanes to be closed. </a:t>
            </a:r>
            <a:r>
              <a:rPr lang="en-US" sz="1200" dirty="0" smtClean="0">
                <a:latin typeface="Franklin Gothic Book" panose="020B0503020102020204" pitchFamily="34" charset="0"/>
              </a:rPr>
              <a:t>I-10 </a:t>
            </a:r>
            <a:r>
              <a:rPr lang="en-US" sz="1200" dirty="0">
                <a:latin typeface="Franklin Gothic Book" panose="020B0503020102020204" pitchFamily="34" charset="0"/>
              </a:rPr>
              <a:t>between Beaumont and Houston did not reopen until </a:t>
            </a:r>
            <a:r>
              <a:rPr lang="en-US" sz="1200" dirty="0" smtClean="0">
                <a:latin typeface="Franklin Gothic Book" panose="020B0503020102020204" pitchFamily="34" charset="0"/>
              </a:rPr>
              <a:t>Sept. 2. </a:t>
            </a:r>
            <a:endParaRPr lang="en-US" sz="1200" dirty="0">
              <a:latin typeface="Franklin Gothic Book" panose="020B0503020102020204" pitchFamily="34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666750"/>
            <a:ext cx="5103108" cy="19585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3" descr="T:\AEO\Hurricane Harvey\BMT\8-29-17_Img 0635_I-10 west of Beaumont became impassable on Aug 28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2724150"/>
            <a:ext cx="5103108" cy="18288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8755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vey’s </a:t>
            </a:r>
            <a:r>
              <a:rPr lang="en-US" dirty="0" smtClean="0"/>
              <a:t>impact </a:t>
            </a:r>
            <a:r>
              <a:rPr lang="en-US" dirty="0"/>
              <a:t>on </a:t>
            </a:r>
            <a:r>
              <a:rPr lang="en-US" dirty="0" smtClean="0"/>
              <a:t>south Texas (Yoakum District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36</a:t>
            </a:fld>
            <a:endParaRPr lang="en-US" dirty="0"/>
          </a:p>
        </p:txBody>
      </p:sp>
      <p:pic>
        <p:nvPicPr>
          <p:cNvPr id="15769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0725150"/>
            <a:ext cx="3055826" cy="4074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7700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3400" y="10877550"/>
            <a:ext cx="6197600" cy="464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605207" y="3933090"/>
            <a:ext cx="2000250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Colorado River near Wharton.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05207" y="1123950"/>
            <a:ext cx="7933586" cy="2844800"/>
            <a:chOff x="1493500" y="1504950"/>
            <a:chExt cx="7503178" cy="2690465"/>
          </a:xfrm>
        </p:grpSpPr>
        <p:pic>
          <p:nvPicPr>
            <p:cNvPr id="12290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93500" y="1504950"/>
              <a:ext cx="1891734" cy="26904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42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59371" y="1504950"/>
              <a:ext cx="5337307" cy="265674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TextBox 9"/>
          <p:cNvSpPr txBox="1"/>
          <p:nvPr/>
        </p:nvSpPr>
        <p:spPr>
          <a:xfrm>
            <a:off x="2895319" y="3933091"/>
            <a:ext cx="2743200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La Grange under water.</a:t>
            </a:r>
          </a:p>
        </p:txBody>
      </p:sp>
    </p:spTree>
    <p:extLst>
      <p:ext uri="{BB962C8B-B14F-4D97-AF65-F5344CB8AC3E}">
        <p14:creationId xmlns:p14="http://schemas.microsoft.com/office/powerpoint/2010/main" val="692064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xDOT</a:t>
            </a:r>
            <a:r>
              <a:rPr lang="en-US" dirty="0" smtClean="0"/>
              <a:t> responds and rebuild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37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010809" y="3102260"/>
            <a:ext cx="3082157" cy="83099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Aug. 26, Galveston Maintenance Office was unable to reach Bolivar, so Anahuac Maintenance Office responds to remove debris off the road (BMT)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47650" y="3098979"/>
            <a:ext cx="2522327" cy="83099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Sept. 3, I-10 in Orange County.  TxDOT assists with clean-up from lowering flood waters from Neches River (BMT).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247650" y="1200150"/>
            <a:ext cx="8648700" cy="1898829"/>
            <a:chOff x="266700" y="971550"/>
            <a:chExt cx="8877300" cy="1949018"/>
          </a:xfrm>
        </p:grpSpPr>
        <p:pic>
          <p:nvPicPr>
            <p:cNvPr id="12290" name="Picture 2" descr="T:\AEO\Hurricane Harvey\BMT\8-26-17_Anahuac Mnt Office move debris off road in Bolivar to assist Galveston Mnt Office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2894" y="971550"/>
              <a:ext cx="3163624" cy="1949018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291" name="Picture 3" descr="T:\AEO\Hurricane Harvey\BMT\9-3-17_Clean up from Explosion to lower flood waters from Neches River.jp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6700" y="978821"/>
              <a:ext cx="2588996" cy="1941747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45309" y="971550"/>
              <a:ext cx="2598691" cy="1949018"/>
            </a:xfrm>
            <a:prstGeom prst="rect">
              <a:avLst/>
            </a:prstGeom>
            <a:effectLst/>
          </p:spPr>
        </p:pic>
      </p:grpSp>
      <p:sp>
        <p:nvSpPr>
          <p:cNvPr id="9" name="TextBox 8"/>
          <p:cNvSpPr txBox="1"/>
          <p:nvPr/>
        </p:nvSpPr>
        <p:spPr>
          <a:xfrm>
            <a:off x="6364578" y="3098979"/>
            <a:ext cx="2627022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Crews repair bridge at the Lavaca River on SH 111 in Lavaca County (YKM).</a:t>
            </a:r>
          </a:p>
        </p:txBody>
      </p:sp>
    </p:spTree>
    <p:extLst>
      <p:ext uri="{BB962C8B-B14F-4D97-AF65-F5344CB8AC3E}">
        <p14:creationId xmlns:p14="http://schemas.microsoft.com/office/powerpoint/2010/main" val="236094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TxDOT</a:t>
            </a:r>
            <a:r>
              <a:rPr lang="en-US" dirty="0" smtClean="0"/>
              <a:t> responds and rebuild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3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42901" y="3616986"/>
            <a:ext cx="2060698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Sinkhole repairs at FM 762 in Fort Bend County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538950" y="3616986"/>
            <a:ext cx="3300250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Safety is #1 as out-of-town TxDOT staff conduct safety meetings at Sugar Land Base Camp before deploying to help with recovery efforts in HOU.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42900" y="876743"/>
            <a:ext cx="8458200" cy="2748560"/>
            <a:chOff x="228600" y="514351"/>
            <a:chExt cx="8610601" cy="2798084"/>
          </a:xfrm>
        </p:grpSpPr>
        <p:pic>
          <p:nvPicPr>
            <p:cNvPr id="14340" name="Picture 4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18273" y="536865"/>
              <a:ext cx="3320928" cy="277557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341" name="Picture 5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600" y="514351"/>
              <a:ext cx="2097828" cy="27966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243" name="Picture 3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2355" y="514351"/>
              <a:ext cx="2796649" cy="27966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TextBox 9"/>
          <p:cNvSpPr txBox="1"/>
          <p:nvPr/>
        </p:nvSpPr>
        <p:spPr>
          <a:xfrm>
            <a:off x="2586235" y="3625303"/>
            <a:ext cx="2747150" cy="27699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Crews work on I-10 in Orange County.</a:t>
            </a:r>
          </a:p>
        </p:txBody>
      </p:sp>
    </p:spTree>
    <p:extLst>
      <p:ext uri="{BB962C8B-B14F-4D97-AF65-F5344CB8AC3E}">
        <p14:creationId xmlns:p14="http://schemas.microsoft.com/office/powerpoint/2010/main" val="2386987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816" y="32720"/>
            <a:ext cx="8667584" cy="400110"/>
          </a:xfrm>
        </p:spPr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</a:t>
            </a:r>
            <a:r>
              <a:rPr lang="en-US" dirty="0" smtClean="0"/>
              <a:t>responds and rebuilds (</a:t>
            </a:r>
            <a:r>
              <a:rPr lang="en-US" dirty="0" err="1" smtClean="0"/>
              <a:t>AquaDam</a:t>
            </a:r>
            <a:r>
              <a:rPr lang="en-US" dirty="0" smtClean="0"/>
              <a:t>, HOU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39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477000" y="1741510"/>
            <a:ext cx="236220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Aug. 29–30, </a:t>
            </a:r>
            <a:r>
              <a:rPr lang="en-US" sz="1200" dirty="0" err="1" smtClean="0">
                <a:latin typeface="Franklin Gothic Book" panose="020B0503020102020204" pitchFamily="34" charset="0"/>
              </a:rPr>
              <a:t>AquaDam</a:t>
            </a:r>
            <a:r>
              <a:rPr lang="en-US" sz="1200" dirty="0" smtClean="0">
                <a:latin typeface="Franklin Gothic Book" panose="020B0503020102020204" pitchFamily="34" charset="0"/>
              </a:rPr>
              <a:t> installed</a:t>
            </a:r>
          </a:p>
          <a:p>
            <a:r>
              <a:rPr lang="en-US" sz="1200" dirty="0" smtClean="0">
                <a:latin typeface="Franklin Gothic Book" panose="020B0503020102020204" pitchFamily="34" charset="0"/>
              </a:rPr>
              <a:t>I-10 </a:t>
            </a:r>
            <a:r>
              <a:rPr lang="en-US" sz="1200" dirty="0">
                <a:latin typeface="Franklin Gothic Book" panose="020B0503020102020204" pitchFamily="34" charset="0"/>
              </a:rPr>
              <a:t>at Eldridge Parkway in </a:t>
            </a:r>
            <a:r>
              <a:rPr lang="en-US" sz="1200" dirty="0" smtClean="0">
                <a:latin typeface="Franklin Gothic Book" panose="020B0503020102020204" pitchFamily="34" charset="0"/>
              </a:rPr>
              <a:t>west </a:t>
            </a:r>
            <a:r>
              <a:rPr lang="en-US" sz="1200" dirty="0">
                <a:latin typeface="Franklin Gothic Book" panose="020B0503020102020204" pitchFamily="34" charset="0"/>
              </a:rPr>
              <a:t>Houston</a:t>
            </a:r>
            <a:r>
              <a:rPr lang="en-US" sz="1200" dirty="0" smtClean="0">
                <a:latin typeface="Franklin Gothic Book" panose="020B0503020102020204" pitchFamily="34" charset="0"/>
              </a:rPr>
              <a:t>.</a:t>
            </a:r>
          </a:p>
          <a:p>
            <a:endParaRPr lang="en-US" sz="1200" dirty="0">
              <a:latin typeface="Franklin Gothic Book" panose="020B0503020102020204" pitchFamily="34" charset="0"/>
            </a:endParaRPr>
          </a:p>
          <a:p>
            <a:r>
              <a:rPr lang="en-US" sz="1200" dirty="0" smtClean="0">
                <a:latin typeface="Franklin Gothic Book" panose="020B0503020102020204" pitchFamily="34" charset="0"/>
              </a:rPr>
              <a:t>Dam dimensions:</a:t>
            </a:r>
          </a:p>
          <a:p>
            <a:pPr marL="169863" indent="-169863">
              <a:buFont typeface="Arial" panose="020B0604020202020204" pitchFamily="34" charset="0"/>
              <a:buChar char="•"/>
            </a:pPr>
            <a:r>
              <a:rPr lang="en-US" sz="1200" dirty="0" smtClean="0">
                <a:latin typeface="Franklin Gothic Book" panose="020B0503020102020204" pitchFamily="34" charset="0"/>
              </a:rPr>
              <a:t>36 inches tall</a:t>
            </a:r>
          </a:p>
          <a:p>
            <a:pPr marL="169863" indent="-169863">
              <a:buFont typeface="Arial" panose="020B0604020202020204" pitchFamily="34" charset="0"/>
              <a:buChar char="•"/>
              <a:tabLst>
                <a:tab pos="169863" algn="l"/>
              </a:tabLst>
            </a:pPr>
            <a:r>
              <a:rPr lang="en-US" sz="1200" dirty="0" smtClean="0">
                <a:latin typeface="Franklin Gothic Book" panose="020B0503020102020204" pitchFamily="34" charset="0"/>
              </a:rPr>
              <a:t>250 feet long</a:t>
            </a:r>
          </a:p>
          <a:p>
            <a:pPr marL="169863" indent="-169863">
              <a:buFont typeface="Arial" panose="020B0604020202020204" pitchFamily="34" charset="0"/>
              <a:buChar char="•"/>
              <a:tabLst>
                <a:tab pos="169863" algn="l"/>
              </a:tabLst>
            </a:pPr>
            <a:r>
              <a:rPr lang="en-US" sz="1200" dirty="0" smtClean="0">
                <a:latin typeface="Franklin Gothic Book" panose="020B0503020102020204" pitchFamily="34" charset="0"/>
              </a:rPr>
              <a:t>weighs 1,000 </a:t>
            </a:r>
            <a:r>
              <a:rPr lang="en-US" sz="1200" dirty="0">
                <a:latin typeface="Franklin Gothic Book" panose="020B0503020102020204" pitchFamily="34" charset="0"/>
              </a:rPr>
              <a:t>pounds (empty) </a:t>
            </a:r>
            <a:endParaRPr lang="en-US" sz="1200" dirty="0" smtClean="0">
              <a:latin typeface="Franklin Gothic Book" panose="020B0503020102020204" pitchFamily="34" charset="0"/>
            </a:endParaRPr>
          </a:p>
          <a:p>
            <a:pPr marL="169863" indent="-169863">
              <a:buFont typeface="Arial" panose="020B0604020202020204" pitchFamily="34" charset="0"/>
              <a:buChar char="•"/>
              <a:tabLst>
                <a:tab pos="169863" algn="l"/>
              </a:tabLst>
            </a:pPr>
            <a:r>
              <a:rPr lang="en-US" sz="1200" dirty="0" smtClean="0">
                <a:latin typeface="Franklin Gothic Book" panose="020B0503020102020204" pitchFamily="34" charset="0"/>
              </a:rPr>
              <a:t>37,600 gallon capacity</a:t>
            </a:r>
          </a:p>
          <a:p>
            <a:pPr marL="169863" indent="-169863">
              <a:buFont typeface="Arial" panose="020B0604020202020204" pitchFamily="34" charset="0"/>
              <a:buChar char="•"/>
              <a:tabLst>
                <a:tab pos="169863" algn="l"/>
              </a:tabLst>
            </a:pPr>
            <a:r>
              <a:rPr lang="en-US" sz="1200" dirty="0" smtClean="0">
                <a:latin typeface="Franklin Gothic Book" panose="020B0503020102020204" pitchFamily="34" charset="0"/>
              </a:rPr>
              <a:t>holds </a:t>
            </a:r>
            <a:r>
              <a:rPr lang="en-US" sz="1200" dirty="0">
                <a:latin typeface="Franklin Gothic Book" panose="020B0503020102020204" pitchFamily="34" charset="0"/>
              </a:rPr>
              <a:t>back 30 inches of </a:t>
            </a:r>
            <a:r>
              <a:rPr lang="en-US" sz="1200" dirty="0" smtClean="0">
                <a:latin typeface="Franklin Gothic Book" panose="020B0503020102020204" pitchFamily="34" charset="0"/>
              </a:rPr>
              <a:t>water</a:t>
            </a:r>
            <a:endParaRPr lang="en-US" sz="1200" dirty="0">
              <a:latin typeface="Franklin Gothic Book" panose="020B0503020102020204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397788" y="971550"/>
            <a:ext cx="6001327" cy="3301390"/>
            <a:chOff x="76199" y="585356"/>
            <a:chExt cx="6001327" cy="3301390"/>
          </a:xfrm>
        </p:grpSpPr>
        <p:pic>
          <p:nvPicPr>
            <p:cNvPr id="11271" name="Picture 7" descr="T:\AEO\Hurricane Harvey\HOU\AquaDam HOU\IMG_0660 (2)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200" y="590550"/>
              <a:ext cx="2311400" cy="17335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" name="Group 5"/>
            <p:cNvGrpSpPr/>
            <p:nvPr/>
          </p:nvGrpSpPr>
          <p:grpSpPr>
            <a:xfrm>
              <a:off x="76199" y="2369409"/>
              <a:ext cx="6001327" cy="1517337"/>
              <a:chOff x="76199" y="2369261"/>
              <a:chExt cx="5901518" cy="1492101"/>
            </a:xfrm>
          </p:grpSpPr>
          <p:pic>
            <p:nvPicPr>
              <p:cNvPr id="11272" name="Picture 8" descr="T:\AEO\Hurricane Harvey\HOU\AquaDam HOU\IMG_0672_AquaDam HOU (2).jpg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199" y="2369262"/>
                <a:ext cx="3066334" cy="1492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273" name="Picture 9" descr="T:\AEO\Hurricane Harvey\HOU\AquaDam HOU\IMG_0664 (2).jpg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93334" y="2369261"/>
                <a:ext cx="2784383" cy="149163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1274" name="Picture 10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38400" y="585356"/>
              <a:ext cx="3639126" cy="1739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113728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fety Rest Area Maintenan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465437" y="566856"/>
            <a:ext cx="4174525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 smtClean="0"/>
              <a:t>Performance Based Maintain, Repair &amp; Operate Contracts</a:t>
            </a:r>
          </a:p>
          <a:p>
            <a:endParaRPr lang="en-US" sz="2000" b="1" u="sng" dirty="0" smtClean="0"/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 smtClean="0"/>
              <a:t>28 locations – work 12  hours per day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1600" b="1" dirty="0" smtClean="0"/>
              <a:t>50  locations – work  24 hours per day</a:t>
            </a:r>
          </a:p>
          <a:p>
            <a:pPr marL="285750" lvl="0" indent="-285750">
              <a:buFont typeface="Wingdings" panose="05000000000000000000" pitchFamily="2" charset="2"/>
              <a:buChar char="Ø"/>
            </a:pPr>
            <a:r>
              <a:rPr lang="en-US" sz="1600" b="1" dirty="0" smtClean="0">
                <a:solidFill>
                  <a:prstClr val="black"/>
                </a:solidFill>
              </a:rPr>
              <a:t>Total monthly maintenance cost is $1.2M (</a:t>
            </a:r>
            <a:r>
              <a:rPr lang="en-US" sz="1600" b="1" dirty="0">
                <a:solidFill>
                  <a:prstClr val="black"/>
                </a:solidFill>
              </a:rPr>
              <a:t>varies with </a:t>
            </a:r>
            <a:r>
              <a:rPr lang="en-US" sz="1600" b="1" dirty="0" smtClean="0">
                <a:solidFill>
                  <a:prstClr val="black"/>
                </a:solidFill>
              </a:rPr>
              <a:t>incentive/disincentive evaluations)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sz="1600" b="1" dirty="0" smtClean="0">
                <a:solidFill>
                  <a:prstClr val="black"/>
                </a:solidFill>
              </a:rPr>
              <a:t>~$18.5M budget for FY 18</a:t>
            </a:r>
            <a:endParaRPr lang="en-US" sz="1600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465438" y="3255029"/>
            <a:ext cx="3525794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 smtClean="0"/>
              <a:t>Six Contract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1" dirty="0" smtClean="0"/>
              <a:t>3 – contracts are through State Use (sheltered workshops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600" b="1" dirty="0" smtClean="0"/>
              <a:t>3 – contracts are low bid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643" y="509074"/>
            <a:ext cx="4216057" cy="1523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56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641" y="2028827"/>
            <a:ext cx="4216057" cy="1008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56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4227" y="3150973"/>
            <a:ext cx="4562957" cy="15260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7781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vey’s </a:t>
            </a:r>
            <a:r>
              <a:rPr lang="en-US" dirty="0" smtClean="0"/>
              <a:t>impact </a:t>
            </a:r>
            <a:r>
              <a:rPr lang="en-US" dirty="0"/>
              <a:t>on </a:t>
            </a:r>
            <a:r>
              <a:rPr lang="en-US" dirty="0" smtClean="0"/>
              <a:t>southeast Texas (Beaumont District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40</a:t>
            </a:fld>
            <a:endParaRPr lang="en-US" dirty="0"/>
          </a:p>
        </p:txBody>
      </p:sp>
      <p:pic>
        <p:nvPicPr>
          <p:cNvPr id="15769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0725150"/>
            <a:ext cx="3055826" cy="4074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7700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3400" y="10877550"/>
            <a:ext cx="6197600" cy="464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023771" y="4270795"/>
            <a:ext cx="70964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latin typeface="Franklin Gothic Book" panose="020B0503020102020204" pitchFamily="34" charset="0"/>
              </a:rPr>
              <a:t>I-10 in Orange County (BMT).</a:t>
            </a:r>
          </a:p>
        </p:txBody>
      </p: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4389" y="666750"/>
            <a:ext cx="4645840" cy="3604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25653" y="667060"/>
            <a:ext cx="2322033" cy="1743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772" y="2526447"/>
            <a:ext cx="2325798" cy="17443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5627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41</a:t>
            </a:fld>
            <a:endParaRPr lang="en-US" dirty="0"/>
          </a:p>
        </p:txBody>
      </p:sp>
      <p:pic>
        <p:nvPicPr>
          <p:cNvPr id="1576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6298" y="514350"/>
            <a:ext cx="7315200" cy="417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/>
          <p:nvPr/>
        </p:nvSpPr>
        <p:spPr>
          <a:xfrm>
            <a:off x="155944" y="7531"/>
            <a:ext cx="860705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bg1"/>
                </a:solidFill>
                <a:latin typeface="Franklin Gothic Heavy" panose="020B0903020102020204" pitchFamily="34" charset="0"/>
              </a:rPr>
              <a:t>Harvey’s impact on </a:t>
            </a:r>
            <a:r>
              <a:rPr lang="en-US" sz="2000" dirty="0" smtClean="0">
                <a:solidFill>
                  <a:schemeClr val="bg1"/>
                </a:solidFill>
                <a:latin typeface="Franklin Gothic Heavy" panose="020B0903020102020204" pitchFamily="34" charset="0"/>
              </a:rPr>
              <a:t>SE </a:t>
            </a:r>
            <a:r>
              <a:rPr lang="en-US" sz="2000" dirty="0">
                <a:solidFill>
                  <a:schemeClr val="bg1"/>
                </a:solidFill>
                <a:latin typeface="Franklin Gothic Heavy" panose="020B0903020102020204" pitchFamily="34" charset="0"/>
              </a:rPr>
              <a:t>Texas </a:t>
            </a:r>
            <a:r>
              <a:rPr lang="en-US" sz="2000" dirty="0" smtClean="0">
                <a:solidFill>
                  <a:schemeClr val="bg1"/>
                </a:solidFill>
                <a:latin typeface="Franklin Gothic Heavy" panose="020B0903020102020204" pitchFamily="34" charset="0"/>
              </a:rPr>
              <a:t>(US 69 Lumberton, BMT)</a:t>
            </a:r>
            <a:endParaRPr lang="en-US" sz="2000" dirty="0">
              <a:solidFill>
                <a:schemeClr val="bg1"/>
              </a:solidFill>
              <a:latin typeface="Franklin Gothic Heavy" panose="020B0903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9605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816" y="32720"/>
            <a:ext cx="8667584" cy="400110"/>
          </a:xfrm>
        </p:spPr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</a:t>
            </a:r>
            <a:r>
              <a:rPr lang="en-US" dirty="0" smtClean="0"/>
              <a:t>responds </a:t>
            </a:r>
            <a:r>
              <a:rPr lang="en-US" dirty="0"/>
              <a:t>and </a:t>
            </a:r>
            <a:r>
              <a:rPr lang="en-US" dirty="0" smtClean="0"/>
              <a:t>rebuilds (</a:t>
            </a:r>
            <a:r>
              <a:rPr lang="en-US" dirty="0" err="1" smtClean="0"/>
              <a:t>AquaDam</a:t>
            </a:r>
            <a:r>
              <a:rPr lang="en-US" dirty="0" smtClean="0"/>
              <a:t>, BMT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42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964971" y="708377"/>
            <a:ext cx="7214058" cy="3586624"/>
            <a:chOff x="23037" y="1000870"/>
            <a:chExt cx="7214058" cy="3586624"/>
          </a:xfrm>
        </p:grpSpPr>
        <p:pic>
          <p:nvPicPr>
            <p:cNvPr id="11266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037" y="2647950"/>
              <a:ext cx="4722368" cy="19395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7" name="Group 6"/>
            <p:cNvGrpSpPr/>
            <p:nvPr/>
          </p:nvGrpSpPr>
          <p:grpSpPr>
            <a:xfrm>
              <a:off x="23038" y="1000870"/>
              <a:ext cx="7214057" cy="1605804"/>
              <a:chOff x="23038" y="1036772"/>
              <a:chExt cx="7197120" cy="1602034"/>
            </a:xfrm>
          </p:grpSpPr>
          <p:pic>
            <p:nvPicPr>
              <p:cNvPr id="11267" name="Picture 3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038" y="1036772"/>
                <a:ext cx="2545076" cy="16020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268" name="Picture 4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16719" y="1036772"/>
                <a:ext cx="1907184" cy="160203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269" name="Picture 5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72000" y="1036772"/>
                <a:ext cx="2648158" cy="160203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11270" name="Picture 6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95348" y="2647950"/>
              <a:ext cx="2441747" cy="19395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" name="Rectangle 3"/>
          <p:cNvSpPr/>
          <p:nvPr/>
        </p:nvSpPr>
        <p:spPr>
          <a:xfrm>
            <a:off x="964972" y="4275951"/>
            <a:ext cx="7214057" cy="276999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algn="ctr"/>
            <a:r>
              <a:rPr lang="en-US" sz="1200" dirty="0" smtClean="0">
                <a:latin typeface="Franklin Gothic Book" panose="020B0503020102020204" pitchFamily="34" charset="0"/>
              </a:rPr>
              <a:t>Aug. 31, </a:t>
            </a:r>
            <a:r>
              <a:rPr lang="en-US" sz="1200" dirty="0" err="1" smtClean="0">
                <a:latin typeface="Franklin Gothic Book" panose="020B0503020102020204" pitchFamily="34" charset="0"/>
              </a:rPr>
              <a:t>AquaDam</a:t>
            </a:r>
            <a:r>
              <a:rPr lang="en-US" sz="1200" dirty="0" smtClean="0">
                <a:latin typeface="Franklin Gothic Book" panose="020B0503020102020204" pitchFamily="34" charset="0"/>
              </a:rPr>
              <a:t> installed on I-10 </a:t>
            </a:r>
            <a:r>
              <a:rPr lang="en-US" sz="1200" dirty="0">
                <a:latin typeface="Franklin Gothic Book" panose="020B0503020102020204" pitchFamily="34" charset="0"/>
              </a:rPr>
              <a:t>near SH146 in Mont </a:t>
            </a:r>
            <a:r>
              <a:rPr lang="en-US" sz="1200" dirty="0" err="1" smtClean="0">
                <a:latin typeface="Franklin Gothic Book" panose="020B0503020102020204" pitchFamily="34" charset="0"/>
              </a:rPr>
              <a:t>Belvieu</a:t>
            </a:r>
            <a:r>
              <a:rPr lang="en-US" sz="1200" dirty="0" smtClean="0">
                <a:latin typeface="Franklin Gothic Book" panose="020B05030201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28551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</a:t>
            </a:r>
            <a:r>
              <a:rPr lang="en-US" dirty="0" smtClean="0"/>
              <a:t>responds </a:t>
            </a:r>
            <a:r>
              <a:rPr lang="en-US" dirty="0"/>
              <a:t>and </a:t>
            </a:r>
            <a:r>
              <a:rPr lang="en-US" dirty="0" smtClean="0"/>
              <a:t>rebuilds (Yoakum District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43</a:t>
            </a:fld>
            <a:endParaRPr lang="en-US" dirty="0"/>
          </a:p>
        </p:txBody>
      </p:sp>
      <p:pic>
        <p:nvPicPr>
          <p:cNvPr id="15769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200" y="10725150"/>
            <a:ext cx="3055826" cy="4074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7700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63400" y="10877550"/>
            <a:ext cx="6197600" cy="4648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665407" y="3844318"/>
            <a:ext cx="4774990" cy="646331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FM 442 at San Bernard River in Wharton County (YKM). </a:t>
            </a:r>
            <a:r>
              <a:rPr lang="en-US" sz="1200" dirty="0" err="1" smtClean="0">
                <a:latin typeface="Franklin Gothic Book" panose="020B0503020102020204" pitchFamily="34" charset="0"/>
              </a:rPr>
              <a:t>TxDOT</a:t>
            </a:r>
            <a:r>
              <a:rPr lang="en-US" sz="1200" dirty="0" smtClean="0">
                <a:latin typeface="Franklin Gothic Book" panose="020B0503020102020204" pitchFamily="34" charset="0"/>
              </a:rPr>
              <a:t> crews repair large stretch of road, </a:t>
            </a:r>
            <a:r>
              <a:rPr lang="en-US" sz="1200" dirty="0" err="1" smtClean="0">
                <a:latin typeface="Franklin Gothic Book" panose="020B0503020102020204" pitchFamily="34" charset="0"/>
              </a:rPr>
              <a:t>incuding</a:t>
            </a:r>
            <a:r>
              <a:rPr lang="en-US" sz="1200" dirty="0" smtClean="0">
                <a:latin typeface="Franklin Gothic Book" panose="020B0503020102020204" pitchFamily="34" charset="0"/>
              </a:rPr>
              <a:t> removing asphalt, laying base, prime, and hot mix.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665406" y="721388"/>
            <a:ext cx="7813188" cy="3122929"/>
            <a:chOff x="58520" y="600133"/>
            <a:chExt cx="8006376" cy="3200146"/>
          </a:xfrm>
        </p:grpSpPr>
        <p:pic>
          <p:nvPicPr>
            <p:cNvPr id="11267" name="Picture 3" descr="T:\AEO\Hurricane Harvey\YKM\Image 052_FM 442 at San Bernard River (Wharton Co).jp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520" y="600133"/>
              <a:ext cx="4893056" cy="3200146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268" name="Picture 4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81600" y="600133"/>
              <a:ext cx="2883296" cy="320014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extBox 12"/>
          <p:cNvSpPr txBox="1"/>
          <p:nvPr/>
        </p:nvSpPr>
        <p:spPr>
          <a:xfrm>
            <a:off x="5664870" y="3844318"/>
            <a:ext cx="2813724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dirty="0" smtClean="0">
                <a:latin typeface="Franklin Gothic Book" panose="020B0503020102020204" pitchFamily="34" charset="0"/>
              </a:rPr>
              <a:t>Repairing SH 316 in Calhoun County along the beach near Indianola (YKM). </a:t>
            </a:r>
          </a:p>
        </p:txBody>
      </p:sp>
    </p:spTree>
    <p:extLst>
      <p:ext uri="{BB962C8B-B14F-4D97-AF65-F5344CB8AC3E}">
        <p14:creationId xmlns:p14="http://schemas.microsoft.com/office/powerpoint/2010/main" val="121501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44</a:t>
            </a:fld>
            <a:endParaRPr lang="en-US" dirty="0"/>
          </a:p>
        </p:txBody>
      </p:sp>
      <p:pic>
        <p:nvPicPr>
          <p:cNvPr id="155656" name="Picture 8" descr="https://lh4.googleusercontent.com/65RWyz7Hs41IwIvl6MKYJbQMu_cC1Zq7Q_TYrmaMi5g2aGGEMXB88ONjlGM2BSL4ERmF6Cl9K-nb-gS-_L9Ww_ZQ5sCxje9EFIagA6pZSSmfUQu5LYxlRrm5DQ=s1638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639" y="571500"/>
            <a:ext cx="8686798" cy="41036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304803" y="57150"/>
            <a:ext cx="8353425" cy="830997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400" b="0" kern="1200" dirty="0" smtClean="0">
                <a:solidFill>
                  <a:schemeClr val="bg1"/>
                </a:solidFill>
                <a:effectLst/>
                <a:latin typeface="Franklin Gothic Demi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sz="2000" dirty="0" smtClean="0"/>
              <a:t>I-69 </a:t>
            </a:r>
            <a:r>
              <a:rPr lang="en-US" sz="2000" dirty="0"/>
              <a:t>at San Jacinto </a:t>
            </a:r>
            <a:r>
              <a:rPr lang="en-US" sz="2000" dirty="0" smtClean="0"/>
              <a:t>River (Houston District)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05615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split orient="vert"/>
      </p:transition>
    </mc:Choice>
    <mc:Fallback xmlns="">
      <p:transition spd="slow">
        <p:split orient="vert"/>
      </p:transition>
    </mc:Fallback>
  </mc:AlternateContent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arvey’s </a:t>
            </a:r>
            <a:r>
              <a:rPr lang="en-US" dirty="0" smtClean="0"/>
              <a:t>impact </a:t>
            </a:r>
            <a:r>
              <a:rPr lang="en-US" dirty="0"/>
              <a:t>on </a:t>
            </a:r>
            <a:r>
              <a:rPr lang="en-US" dirty="0" smtClean="0"/>
              <a:t>south </a:t>
            </a:r>
            <a:r>
              <a:rPr lang="en-US" dirty="0"/>
              <a:t>Texas  </a:t>
            </a:r>
            <a:r>
              <a:rPr lang="en-US" dirty="0" smtClean="0"/>
              <a:t>(Corpus Christi District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4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81000" y="3766203"/>
            <a:ext cx="86275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latin typeface="Franklin Gothic Book" panose="020B0503020102020204" pitchFamily="34" charset="0"/>
              </a:rPr>
              <a:t>SH 35 in Rockport, one of the hardest hit cities along the Texas coast.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71" y="1352550"/>
            <a:ext cx="2937164" cy="2202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1482" y="1372486"/>
            <a:ext cx="2981035" cy="2194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6209" y="1352550"/>
            <a:ext cx="2946400" cy="2202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87893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816" y="32720"/>
            <a:ext cx="8353425" cy="400110"/>
          </a:xfrm>
        </p:spPr>
        <p:txBody>
          <a:bodyPr/>
          <a:lstStyle/>
          <a:p>
            <a:r>
              <a:rPr lang="en-US" dirty="0" err="1"/>
              <a:t>TxDOT</a:t>
            </a:r>
            <a:r>
              <a:rPr lang="en-US" dirty="0"/>
              <a:t> </a:t>
            </a:r>
            <a:r>
              <a:rPr lang="en-US" dirty="0" smtClean="0"/>
              <a:t>responds </a:t>
            </a:r>
            <a:r>
              <a:rPr lang="en-US" dirty="0"/>
              <a:t>and </a:t>
            </a:r>
            <a:r>
              <a:rPr lang="en-US" dirty="0" smtClean="0"/>
              <a:t>rebuilds - Crews mobilized statewide 	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46</a:t>
            </a:fld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04800" y="619549"/>
            <a:ext cx="8534400" cy="3925751"/>
            <a:chOff x="152400" y="619549"/>
            <a:chExt cx="8763000" cy="4030905"/>
          </a:xfrm>
        </p:grpSpPr>
        <p:pic>
          <p:nvPicPr>
            <p:cNvPr id="13314" name="Picture 2" descr="T:\AEO\Hurricane Harvey\HOU\Adam Galland Pics\MAO-5_Safety Meeting to discuss challenges_Montgomery Co.jp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3201" y="619549"/>
              <a:ext cx="2652199" cy="1781454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16" name="Picture 4" descr="T:\AEO\Hurricane Harvey\HOU\Adam Galland Pics\MAO-7_Grad-All loading debris in CNG dump truck_Montgomery Co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3201" y="2590455"/>
              <a:ext cx="2652199" cy="2025474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17" name="Picture 5" descr="T:\AEO\Hurricane Harvey\HOU\Walter Hambrick Pics\file2-3 (debris pickup).jpe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3207" y="2595342"/>
              <a:ext cx="2652198" cy="2025474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18" name="Picture 6" descr="T:\AEO\Hurricane Harvey\HOU\Walter Hambrick Pics\file-6 (debris pickup).jpe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833" y="2595342"/>
              <a:ext cx="3034068" cy="2055112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3" descr="T:\AEO\Hurricane Harvey\HOU\Adam Galland Pics\Harris_County_Staging (2).jp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2400" y="644563"/>
              <a:ext cx="3050501" cy="1756441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243" name="Picture 3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03208" y="648548"/>
              <a:ext cx="2652198" cy="17524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2694054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ebris Pick up in Corpus Christi Distric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47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400" y="558834"/>
            <a:ext cx="3962400" cy="22296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5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4400" y="2867134"/>
            <a:ext cx="3962400" cy="1791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8" name="Picture 1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558835"/>
            <a:ext cx="4267200" cy="2240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01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0" y="2868710"/>
            <a:ext cx="2362200" cy="1810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302" name="Picture 1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000" y="2868710"/>
            <a:ext cx="1855825" cy="18103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06210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xDOT responds:  Debris Pick-Up in Rockpor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48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934200" y="0"/>
            <a:ext cx="2133600" cy="43088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Debris pick-up continues </a:t>
            </a:r>
          </a:p>
          <a:p>
            <a:r>
              <a:rPr lang="en-US" sz="1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Franklin Gothic Book" panose="020B0503020102020204" pitchFamily="34" charset="0"/>
              </a:rPr>
              <a:t>(Arial shots taken by Drone in CRP)</a:t>
            </a:r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0" y="733781"/>
            <a:ext cx="3922296" cy="37006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7200" y="759275"/>
            <a:ext cx="4651832" cy="3675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2663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xDOT Responds – Daily Sta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49</a:t>
            </a:fld>
            <a:endParaRPr lang="en-US" dirty="0">
              <a:solidFill>
                <a:prstClr val="white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1913450"/>
              </p:ext>
            </p:extLst>
          </p:nvPr>
        </p:nvGraphicFramePr>
        <p:xfrm>
          <a:off x="182503" y="1276350"/>
          <a:ext cx="5913497" cy="266700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94297"/>
                <a:gridCol w="1219200"/>
              </a:tblGrid>
              <a:tr h="29633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Number of Bridges Inspected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Franklin Gothic Book"/>
                          <a:ea typeface="Calibri"/>
                          <a:cs typeface="Times New Roman"/>
                        </a:rPr>
                        <a:t>4,319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2370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Number of Roadways Closed (Damaged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Franklin Gothic Book"/>
                          <a:ea typeface="Calibri"/>
                          <a:cs typeface="Times New Roman"/>
                        </a:rPr>
                        <a:t>1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2370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Number of Roadways Closed (Flood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Franklin Gothic Book"/>
                          <a:ea typeface="Calibri"/>
                          <a:cs typeface="Times New Roman"/>
                        </a:rPr>
                        <a:t>0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47413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Number of Employees Involved (Hurricane Harvey Response) 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Franklin Gothic Book"/>
                          <a:ea typeface="Calibri"/>
                          <a:cs typeface="Times New Roman"/>
                        </a:rPr>
                        <a:t>4,774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2370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Number of Man Hours Worked (Hurricane Harvey Response) 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Franklin Gothic Book"/>
                          <a:ea typeface="Calibri"/>
                          <a:cs typeface="Times New Roman"/>
                        </a:rPr>
                        <a:t>740,866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2370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Number of Employees (Off-System Debris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Franklin Gothic Book"/>
                          <a:ea typeface="Calibri"/>
                          <a:cs typeface="Times New Roman"/>
                        </a:rPr>
                        <a:t>1,705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2370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Number of Man Hours Worked (Off-System Debris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Franklin Gothic Book"/>
                          <a:ea typeface="Calibri"/>
                          <a:cs typeface="Times New Roman"/>
                        </a:rPr>
                        <a:t>165,085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2370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Number of Entities Requesting Assistance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Franklin Gothic Book"/>
                          <a:ea typeface="Calibri"/>
                          <a:cs typeface="Times New Roman"/>
                        </a:rPr>
                        <a:t>25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2370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Debris Removed (CY)</a:t>
                      </a:r>
                      <a:endParaRPr lang="en-US" sz="11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Franklin Gothic Book"/>
                          <a:ea typeface="Calibri"/>
                          <a:cs typeface="Times New Roman"/>
                        </a:rPr>
                        <a:t>504,792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  <a:tr h="237067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Debris Removed (CF)</a:t>
                      </a:r>
                      <a:endParaRPr lang="en-US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effectLst/>
                          <a:latin typeface="Franklin Gothic Book"/>
                          <a:ea typeface="Calibri"/>
                          <a:cs typeface="Times New Roman"/>
                        </a:rPr>
                        <a:t>13,629,404</a:t>
                      </a:r>
                      <a:endParaRPr lang="en-US" sz="11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b"/>
                </a:tc>
              </a:tr>
            </a:tbl>
          </a:graphicData>
        </a:graphic>
      </p:graphicFrame>
      <p:sp>
        <p:nvSpPr>
          <p:cNvPr id="9" name="AutoShape 3" descr="Image result for road damage clip art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AutoShape 5" descr="Image result for road damage clip art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" name="AutoShape 7" descr="Image result for road damage clip art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3919" y="1276350"/>
            <a:ext cx="2743200" cy="2667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15649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a Salle Co. SRA on IH 35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5</a:t>
            </a:fld>
            <a:endParaRPr lang="en-US" dirty="0"/>
          </a:p>
        </p:txBody>
      </p:sp>
      <p:pic>
        <p:nvPicPr>
          <p:cNvPr id="5" name="Picture 3" descr="T:\MNTFM\00_SRA General\3_SRA Photos_Videos\La Salle\DJI_0312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903" y="800100"/>
            <a:ext cx="7636475" cy="3886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37218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816" y="32720"/>
            <a:ext cx="8353425" cy="1200329"/>
          </a:xfrm>
        </p:spPr>
        <p:txBody>
          <a:bodyPr/>
          <a:lstStyle/>
          <a:p>
            <a:pPr lvl="0" fontAlgn="base">
              <a:spcAft>
                <a:spcPct val="0"/>
              </a:spcAft>
            </a:pPr>
            <a:r>
              <a:rPr lang="en-US" dirty="0" smtClean="0"/>
              <a:t>TxDOT Responds - </a:t>
            </a:r>
            <a:r>
              <a:rPr lang="en-US" altLang="en-US" b="1" dirty="0">
                <a:latin typeface="Franklin Gothic Book" pitchFamily="34" charset="0"/>
                <a:ea typeface="Calibri" pitchFamily="34" charset="0"/>
                <a:cs typeface="Times New Roman" pitchFamily="18" charset="0"/>
              </a:rPr>
              <a:t>Estimates of Hurricane Harvey Response</a:t>
            </a:r>
            <a:r>
              <a:rPr lang="en-US" altLang="en-US" sz="800" dirty="0">
                <a:latin typeface="Arial" pitchFamily="34" charset="0"/>
              </a:rPr>
              <a:t/>
            </a:r>
            <a:br>
              <a:rPr lang="en-US" altLang="en-US" sz="800" dirty="0">
                <a:latin typeface="Arial" pitchFamily="34" charset="0"/>
              </a:rPr>
            </a:br>
            <a:r>
              <a:rPr lang="en-US" altLang="en-US" sz="3200" dirty="0">
                <a:latin typeface="Arial" pitchFamily="34" charset="0"/>
              </a:rPr>
              <a:t/>
            </a:r>
            <a:br>
              <a:rPr lang="en-US" altLang="en-US" sz="3200" dirty="0">
                <a:latin typeface="Arial" pitchFamily="34" charset="0"/>
              </a:rPr>
            </a:b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>
                <a:solidFill>
                  <a:prstClr val="white"/>
                </a:solidFill>
              </a:rPr>
              <a:pPr lvl="1" indent="-276225">
                <a:spcBef>
                  <a:spcPts val="900"/>
                </a:spcBef>
              </a:pPr>
              <a:t>50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4232" y="766119"/>
            <a:ext cx="3812907" cy="3620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7641183"/>
              </p:ext>
            </p:extLst>
          </p:nvPr>
        </p:nvGraphicFramePr>
        <p:xfrm>
          <a:off x="234778" y="544213"/>
          <a:ext cx="4811041" cy="41148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176221"/>
                <a:gridCol w="1634820"/>
              </a:tblGrid>
              <a:tr h="14826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Estimated Damages</a:t>
                      </a:r>
                      <a:endParaRPr lang="en-US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2965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Estimate of damages to infrastructure</a:t>
                      </a:r>
                      <a:endParaRPr lang="en-US" sz="90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(roadway, bridges, signals and signs) 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$110,000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444788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Estimate of damages to buildings and ferry operations</a:t>
                      </a:r>
                      <a:endParaRPr lang="en-US" sz="900">
                        <a:effectLst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(facilities &amp; travel information center)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$10,000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Estimate of damages to Ferries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215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Total Damages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$120,215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 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Equipment Costs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 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296525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                                                                           Additional PM </a:t>
                      </a:r>
                      <a:endParaRPr lang="en-US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$5,000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Rentals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$1,230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Total Equipment Costs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$6,230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 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Mobilization Costs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 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                   Salaries (Hurricane Harvey Response)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$17,535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                   OT Pay (Hurricane Harvey Response)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$13,360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                   Salaries (Off-System Debris Removal)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$3,500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                   OT Pay (Off-System Debris Removal)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$3,650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Base Camps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$7,300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IT Changes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$272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Radio Preparedness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$550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Travel for Staging Employees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</a:rPr>
                        <a:t>$1,800,000</a:t>
                      </a:r>
                      <a:endParaRPr lang="en-US" sz="9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Total Mobilization 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</a:rPr>
                        <a:t>$47,967,000</a:t>
                      </a:r>
                      <a:endParaRPr lang="en-US" sz="9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</a:rPr>
                        <a:t> </a:t>
                      </a:r>
                      <a:endParaRPr lang="en-US" sz="900" b="1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  <a:tr h="14826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Grand Total</a:t>
                      </a:r>
                      <a:endParaRPr lang="en-US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</a:rPr>
                        <a:t>$174,412,000</a:t>
                      </a:r>
                      <a:endParaRPr lang="en-US" sz="9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051" marR="56051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805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i="1" dirty="0" smtClean="0"/>
              <a:t>Questions</a:t>
            </a:r>
            <a:endParaRPr lang="en-US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51</a:t>
            </a:fld>
            <a:endParaRPr lang="en-US" dirty="0"/>
          </a:p>
        </p:txBody>
      </p:sp>
      <p:pic>
        <p:nvPicPr>
          <p:cNvPr id="1546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0715" y="1464276"/>
            <a:ext cx="3707026" cy="25145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2106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st Pecos Co. SRA on IH 10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pic>
        <p:nvPicPr>
          <p:cNvPr id="7" name="Picture 3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006" b="17143"/>
          <a:stretch/>
        </p:blipFill>
        <p:spPr bwMode="auto">
          <a:xfrm>
            <a:off x="667265" y="800100"/>
            <a:ext cx="7963930" cy="3654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664531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st Pecos Co. SRA on IH 1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7</a:t>
            </a:fld>
            <a:endParaRPr lang="en-US" dirty="0"/>
          </a:p>
        </p:txBody>
      </p:sp>
      <p:pic>
        <p:nvPicPr>
          <p:cNvPr id="6" name="Picture 2" descr="T:\Photos\knguyen\SRA Pecos West\2017_9_21 Progress Meeting_Exhibit Visit\EB\DSC_7897.JPG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921"/>
          <a:stretch/>
        </p:blipFill>
        <p:spPr bwMode="auto">
          <a:xfrm>
            <a:off x="208606" y="762231"/>
            <a:ext cx="5104799" cy="33935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5789141" y="1371600"/>
            <a:ext cx="289765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u="sng" dirty="0" smtClean="0"/>
              <a:t>COST of 2 FACILITIES</a:t>
            </a:r>
          </a:p>
          <a:p>
            <a:pPr algn="ctr"/>
            <a:endParaRPr lang="en-US" sz="1200" b="1" u="sng" dirty="0"/>
          </a:p>
          <a:p>
            <a:r>
              <a:rPr lang="en-US" sz="1200" dirty="0"/>
              <a:t>BUILDING-  $  </a:t>
            </a:r>
            <a:r>
              <a:rPr lang="en-US" sz="1200" dirty="0" smtClean="0"/>
              <a:t>7,500,000</a:t>
            </a:r>
          </a:p>
          <a:p>
            <a:endParaRPr lang="en-US" sz="1200" dirty="0"/>
          </a:p>
          <a:p>
            <a:r>
              <a:rPr lang="en-US" sz="1200" dirty="0"/>
              <a:t>ROADWAY- $</a:t>
            </a:r>
            <a:r>
              <a:rPr lang="en-US" sz="1200" dirty="0" smtClean="0"/>
              <a:t>15,635.000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484001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pkins Co. SRA on IH 30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962" y="562232"/>
            <a:ext cx="9076038" cy="4124068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8</a:t>
            </a:fld>
            <a:endParaRPr lang="en-US" dirty="0"/>
          </a:p>
        </p:txBody>
      </p:sp>
      <p:pic>
        <p:nvPicPr>
          <p:cNvPr id="5" name="Picture 2" descr="T:\MNTFM\D01PAR\STP_2000(825)TE_HOPKINS_COUNTY_SRA\4_CONSTRUCTION PHASE\PHOTOS\2017-10-06 - PROGRESS PHOTOS\Westbound\IMG_0508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464" y="2866768"/>
            <a:ext cx="4223114" cy="1808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2065" y="642551"/>
            <a:ext cx="3913977" cy="14704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032" y="568410"/>
            <a:ext cx="4244545" cy="16187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379277" y="2187145"/>
            <a:ext cx="256432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 u="sng" dirty="0" smtClean="0"/>
              <a:t>COST of 2 FACILITIES</a:t>
            </a:r>
          </a:p>
          <a:p>
            <a:r>
              <a:rPr lang="en-US" sz="1400" dirty="0" smtClean="0"/>
              <a:t>BUILDING-  $ 10,100,000</a:t>
            </a:r>
          </a:p>
          <a:p>
            <a:r>
              <a:rPr lang="en-US" sz="1400" dirty="0" smtClean="0"/>
              <a:t>ROADWAY- $ 13,591,000*</a:t>
            </a:r>
            <a:endParaRPr lang="en-US" sz="1400" dirty="0"/>
          </a:p>
        </p:txBody>
      </p:sp>
      <p:pic>
        <p:nvPicPr>
          <p:cNvPr id="9" name="Picture 7" descr="T:\MNTFM\D01PAR\STP_2000(825)TE_HOPKINS_COUNTY_SRA\4_CONSTRUCTION PHASE\PHOTOS\2017-10-06 - PROGRESS PHOTOS\Westbound\IMG_0515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2065" y="2866769"/>
            <a:ext cx="4022413" cy="1808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28477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7" name="Picture 5" descr="E:\U Drive\Photos\akeith\Hallway Photos\July 2003 018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29" r="8536"/>
          <a:stretch/>
        </p:blipFill>
        <p:spPr bwMode="auto">
          <a:xfrm>
            <a:off x="3424031" y="378968"/>
            <a:ext cx="2404872" cy="1449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E:\U Drive\Photos\akeith\Hallway Photos\Hardeman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381256"/>
            <a:ext cx="2573474" cy="1447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9" name="Picture 7" descr="E:\U Drive\Photos\akeith\Hallway Photos\June 2004 125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" y="2114550"/>
            <a:ext cx="2514600" cy="12573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E:\U Drive\Photos\akeith\Hallway Photos\PC161669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0503" y="2000250"/>
            <a:ext cx="243840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1" name="Picture 9" descr="E:\U Drive\Photos\akeith\Hallway Photos\P4190072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0506" y="3521584"/>
            <a:ext cx="2375407" cy="1336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 descr="E:\U Drive\Photos\akeith\Hallway Photos\IMG_1476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3561172"/>
            <a:ext cx="2573474" cy="12965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E:\U Drive\Photos\akeith\Hallway Photos\Coke Co. site photos aug 2006_2_reduced_Page_01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3602" y="381255"/>
            <a:ext cx="2499177" cy="1447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5" name="Picture 13" descr="E:\U Drive\Photos\akeith\Hallway Photos\DSC_0492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6762"/>
          <a:stretch/>
        </p:blipFill>
        <p:spPr bwMode="auto">
          <a:xfrm>
            <a:off x="5943599" y="2000250"/>
            <a:ext cx="2743200" cy="1371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6" name="Picture 14" descr="E:\U Drive\Photos\akeith\2010 AKEITH ARCHIVE\Gray\Kevin Stillman\I40 west\59.tif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1701" y="3521584"/>
            <a:ext cx="2592699" cy="1336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4034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_WIDESCREEN (1)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1</TotalTime>
  <Words>1732</Words>
  <Application>Microsoft Office PowerPoint</Application>
  <PresentationFormat>On-screen Show (16:9)</PresentationFormat>
  <Paragraphs>422</Paragraphs>
  <Slides>51</Slides>
  <Notes>9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1</vt:i4>
      </vt:variant>
    </vt:vector>
  </HeadingPairs>
  <TitlesOfParts>
    <vt:vector size="54" baseType="lpstr">
      <vt:lpstr>MASTER_powerpoint_template_WIDESCREEN (1)</vt:lpstr>
      <vt:lpstr>Office Theme</vt:lpstr>
      <vt:lpstr>think-cell Slide</vt:lpstr>
      <vt:lpstr>2017 SASHTO Southeast Regional  Maintenance Conference</vt:lpstr>
      <vt:lpstr>TxDOT’s Safety Rest Area System</vt:lpstr>
      <vt:lpstr>SAFETY REST AREA PROJECTS</vt:lpstr>
      <vt:lpstr>Safety Rest Area Maintenance</vt:lpstr>
      <vt:lpstr>La Salle Co. SRA on IH 35</vt:lpstr>
      <vt:lpstr>West Pecos Co. SRA on IH 10</vt:lpstr>
      <vt:lpstr>West Pecos Co. SRA on IH 10</vt:lpstr>
      <vt:lpstr>Hopkins Co. SRA on IH 30</vt:lpstr>
      <vt:lpstr>PowerPoint Presentation</vt:lpstr>
      <vt:lpstr>TxDOT  Automated  Data Collection  TxDOT  Experience</vt:lpstr>
      <vt:lpstr>Texas Department of Transportation</vt:lpstr>
      <vt:lpstr>TxDOT Pavement Data Collection</vt:lpstr>
      <vt:lpstr>What Pavement Condition Data is Collected</vt:lpstr>
      <vt:lpstr>How Pavement Data is Collected  &amp; Processed?</vt:lpstr>
      <vt:lpstr>Impact of Automated Data Collection</vt:lpstr>
      <vt:lpstr>Contact Information</vt:lpstr>
      <vt:lpstr>TxDOT Pavement Management System – Pavement Analyst</vt:lpstr>
      <vt:lpstr>Example MAP Report</vt:lpstr>
      <vt:lpstr>Pavement Performance Prediction</vt:lpstr>
      <vt:lpstr>Contact Information</vt:lpstr>
      <vt:lpstr>PowerPoint Presentation</vt:lpstr>
      <vt:lpstr>PowerPoint Presentation</vt:lpstr>
      <vt:lpstr>PowerPoint Presentation</vt:lpstr>
      <vt:lpstr>TxDOT Districts</vt:lpstr>
      <vt:lpstr>Hurricane Re-entry Plan</vt:lpstr>
      <vt:lpstr>Hurricane Re-entry Plan</vt:lpstr>
      <vt:lpstr>TxDOT’s Maintenance Division Emergency Operations Center </vt:lpstr>
      <vt:lpstr>PowerPoint Presentation</vt:lpstr>
      <vt:lpstr>TxDOT responds to Hurricane Harvey</vt:lpstr>
      <vt:lpstr>Harvey’s impact on southeast Texas (Houston District)</vt:lpstr>
      <vt:lpstr>Harvey’s impact on southeast Texas (Houston District)</vt:lpstr>
      <vt:lpstr>Harvey’s impact on southeast Texas (Houston District)</vt:lpstr>
      <vt:lpstr>Harvey’s impact on south Texas  (Corpus Christi District)</vt:lpstr>
      <vt:lpstr>PowerPoint Presentation</vt:lpstr>
      <vt:lpstr>Harvey’s impact on southeast Texas (Beaumont District)</vt:lpstr>
      <vt:lpstr>Harvey’s impact on south Texas (Yoakum District)</vt:lpstr>
      <vt:lpstr>TxDOT responds and rebuilds</vt:lpstr>
      <vt:lpstr>TxDOT responds and rebuilds</vt:lpstr>
      <vt:lpstr>TxDOT responds and rebuilds (AquaDam, HOU)</vt:lpstr>
      <vt:lpstr>Harvey’s impact on southeast Texas (Beaumont District)</vt:lpstr>
      <vt:lpstr>PowerPoint Presentation</vt:lpstr>
      <vt:lpstr>TxDOT responds and rebuilds (AquaDam, BMT)</vt:lpstr>
      <vt:lpstr>TxDOT responds and rebuilds (Yoakum District)</vt:lpstr>
      <vt:lpstr>PowerPoint Presentation</vt:lpstr>
      <vt:lpstr>Harvey’s impact on south Texas  (Corpus Christi District)</vt:lpstr>
      <vt:lpstr>TxDOT responds and rebuilds - Crews mobilized statewide  </vt:lpstr>
      <vt:lpstr>Debris Pick up in Corpus Christi District</vt:lpstr>
      <vt:lpstr>TxDOT responds:  Debris Pick-Up in Rockport</vt:lpstr>
      <vt:lpstr>TxDOT Responds – Daily Stats</vt:lpstr>
      <vt:lpstr>TxDOT Responds - Estimates of Hurricane Harvey Response  </vt:lpstr>
      <vt:lpstr>Questions</vt:lpstr>
    </vt:vector>
  </TitlesOfParts>
  <Company>Tx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TxDOT</dc:creator>
  <cp:lastModifiedBy>Mike Anderson</cp:lastModifiedBy>
  <cp:revision>101</cp:revision>
  <cp:lastPrinted>2013-02-21T15:21:56Z</cp:lastPrinted>
  <dcterms:created xsi:type="dcterms:W3CDTF">2016-08-08T14:53:27Z</dcterms:created>
  <dcterms:modified xsi:type="dcterms:W3CDTF">2017-10-25T11:50:01Z</dcterms:modified>
</cp:coreProperties>
</file>